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92" r:id="rId2"/>
    <p:sldId id="339" r:id="rId3"/>
    <p:sldId id="340" r:id="rId4"/>
    <p:sldId id="331" r:id="rId5"/>
    <p:sldId id="333" r:id="rId6"/>
    <p:sldId id="334" r:id="rId7"/>
    <p:sldId id="335" r:id="rId8"/>
    <p:sldId id="336" r:id="rId9"/>
    <p:sldId id="337" r:id="rId10"/>
    <p:sldId id="341" r:id="rId11"/>
    <p:sldId id="338" r:id="rId12"/>
    <p:sldId id="293" r:id="rId13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it Matani" initials="AM" lastIdx="2" clrIdx="0">
    <p:extLst>
      <p:ext uri="{19B8F6BF-5375-455C-9EA6-DF929625EA0E}">
        <p15:presenceInfo xmlns:p15="http://schemas.microsoft.com/office/powerpoint/2012/main" userId="S-1-5-21-98960553-3474851011-3893374522-2375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97" autoAdjust="0"/>
    <p:restoredTop sz="94364" autoAdjust="0"/>
  </p:normalViewPr>
  <p:slideViewPr>
    <p:cSldViewPr>
      <p:cViewPr varScale="1">
        <p:scale>
          <a:sx n="69" d="100"/>
          <a:sy n="69" d="100"/>
        </p:scale>
        <p:origin x="690" y="6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377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4FCB454-8CC8-4D90-B704-1E832201A3C7}" type="doc">
      <dgm:prSet loTypeId="urn:microsoft.com/office/officeart/2005/8/layout/defaul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88E2617B-D40C-4F33-8FB0-3803FF1F905A}">
      <dgm:prSet custT="1"/>
      <dgm:spPr/>
      <dgm:t>
        <a:bodyPr/>
        <a:lstStyle/>
        <a:p>
          <a:pPr rtl="0"/>
          <a:r>
            <a:rPr lang="en-IN" sz="2000" b="1" i="0" baseline="0" dirty="0" smtClean="0"/>
            <a:t>Engage customers end-to-end </a:t>
          </a:r>
          <a:r>
            <a:rPr lang="en-IN" sz="2000" b="0" i="0" baseline="0" dirty="0" smtClean="0"/>
            <a:t>with Aditya Birla Health Philosophy</a:t>
          </a:r>
          <a:endParaRPr lang="en-IN" sz="1800" b="0" i="0" baseline="0" dirty="0"/>
        </a:p>
      </dgm:t>
    </dgm:pt>
    <dgm:pt modelId="{DB3CDED9-C8B1-4407-A9E7-5C892B5EBEC7}" type="parTrans" cxnId="{6BCB336C-26D0-4ABC-BB31-9AC3913053CA}">
      <dgm:prSet/>
      <dgm:spPr/>
      <dgm:t>
        <a:bodyPr/>
        <a:lstStyle/>
        <a:p>
          <a:endParaRPr lang="en-IN" b="0"/>
        </a:p>
      </dgm:t>
    </dgm:pt>
    <dgm:pt modelId="{31F5E114-808D-4FF7-867C-2AE731AD6BE0}" type="sibTrans" cxnId="{6BCB336C-26D0-4ABC-BB31-9AC3913053CA}">
      <dgm:prSet/>
      <dgm:spPr/>
      <dgm:t>
        <a:bodyPr/>
        <a:lstStyle/>
        <a:p>
          <a:endParaRPr lang="en-IN" b="0"/>
        </a:p>
      </dgm:t>
    </dgm:pt>
    <dgm:pt modelId="{4DF19CF0-DA97-4084-8AF1-6C253A1DF03D}">
      <dgm:prSet/>
      <dgm:spPr/>
      <dgm:t>
        <a:bodyPr/>
        <a:lstStyle/>
        <a:p>
          <a:pPr rtl="0"/>
          <a:r>
            <a:rPr lang="en-IN" b="0" i="0" baseline="0" dirty="0" smtClean="0"/>
            <a:t>Allows </a:t>
          </a:r>
          <a:r>
            <a:rPr lang="en-IN" b="1" i="0" baseline="0" dirty="0" smtClean="0"/>
            <a:t>2 way engagement </a:t>
          </a:r>
          <a:r>
            <a:rPr lang="en-IN" b="0" i="0" baseline="0" dirty="0" smtClean="0"/>
            <a:t>between ABHI and Customer by being a Health Partner</a:t>
          </a:r>
          <a:endParaRPr lang="en-IN" b="0" i="0" baseline="0" dirty="0"/>
        </a:p>
      </dgm:t>
    </dgm:pt>
    <dgm:pt modelId="{4C067D52-71E7-4044-97BF-675FB72B443F}" type="parTrans" cxnId="{6A8F37DF-9E1E-44D7-A21D-FC2C555334B5}">
      <dgm:prSet/>
      <dgm:spPr/>
      <dgm:t>
        <a:bodyPr/>
        <a:lstStyle/>
        <a:p>
          <a:endParaRPr lang="en-IN" b="0"/>
        </a:p>
      </dgm:t>
    </dgm:pt>
    <dgm:pt modelId="{FCCD1DAF-82F4-4B84-8AC5-050ADAC67DD9}" type="sibTrans" cxnId="{6A8F37DF-9E1E-44D7-A21D-FC2C555334B5}">
      <dgm:prSet/>
      <dgm:spPr/>
      <dgm:t>
        <a:bodyPr/>
        <a:lstStyle/>
        <a:p>
          <a:endParaRPr lang="en-IN" b="0"/>
        </a:p>
      </dgm:t>
    </dgm:pt>
    <dgm:pt modelId="{3D8B3BEC-811D-422E-B968-E3A8B9DB289B}">
      <dgm:prSet/>
      <dgm:spPr/>
      <dgm:t>
        <a:bodyPr/>
        <a:lstStyle/>
        <a:p>
          <a:pPr rtl="0"/>
          <a:r>
            <a:rPr lang="en-IN" b="0" i="0" baseline="0" dirty="0" smtClean="0"/>
            <a:t>The only product which intelligently shows </a:t>
          </a:r>
          <a:r>
            <a:rPr lang="en-IN" b="1" i="0" baseline="0" dirty="0" smtClean="0"/>
            <a:t>customized interface </a:t>
          </a:r>
          <a:r>
            <a:rPr lang="en-IN" b="0" i="0" baseline="0" dirty="0" smtClean="0"/>
            <a:t>based on customer type (retail &amp; group)</a:t>
          </a:r>
          <a:endParaRPr lang="en-IN" b="0" i="0" baseline="0" dirty="0"/>
        </a:p>
      </dgm:t>
    </dgm:pt>
    <dgm:pt modelId="{C8F35B72-9E58-4C69-B6C9-D170D1E8BA7F}" type="parTrans" cxnId="{A2CE4127-B361-407F-B20B-F06C83255E0B}">
      <dgm:prSet/>
      <dgm:spPr/>
      <dgm:t>
        <a:bodyPr/>
        <a:lstStyle/>
        <a:p>
          <a:endParaRPr lang="en-IN" b="0"/>
        </a:p>
      </dgm:t>
    </dgm:pt>
    <dgm:pt modelId="{0C4C1E11-7AEA-4F67-A3CB-206E5AD893BF}" type="sibTrans" cxnId="{A2CE4127-B361-407F-B20B-F06C83255E0B}">
      <dgm:prSet/>
      <dgm:spPr/>
      <dgm:t>
        <a:bodyPr/>
        <a:lstStyle/>
        <a:p>
          <a:endParaRPr lang="en-IN" b="0"/>
        </a:p>
      </dgm:t>
    </dgm:pt>
    <dgm:pt modelId="{A74F30BB-0788-4BCE-A79A-36814C67A156}">
      <dgm:prSet/>
      <dgm:spPr/>
      <dgm:t>
        <a:bodyPr/>
        <a:lstStyle/>
        <a:p>
          <a:pPr rtl="0"/>
          <a:r>
            <a:rPr lang="en-IN" b="1" i="0" baseline="0" dirty="0" smtClean="0"/>
            <a:t>Sales Automation</a:t>
          </a:r>
        </a:p>
        <a:p>
          <a:pPr rtl="0"/>
          <a:r>
            <a:rPr lang="en-IN" b="0" i="0" baseline="0" dirty="0" smtClean="0"/>
            <a:t>End to end sales </a:t>
          </a:r>
          <a:r>
            <a:rPr lang="en-IN" b="0" i="0" baseline="0" dirty="0" err="1" smtClean="0"/>
            <a:t>fulfillment</a:t>
          </a:r>
          <a:endParaRPr lang="en-IN" b="0" i="0" baseline="0" dirty="0"/>
        </a:p>
      </dgm:t>
    </dgm:pt>
    <dgm:pt modelId="{59BBC2AD-3F30-4C90-91FA-F2FEFC50EB05}" type="parTrans" cxnId="{C2C215CD-7EDA-449D-B66C-F2A1F6FAEC5B}">
      <dgm:prSet/>
      <dgm:spPr/>
      <dgm:t>
        <a:bodyPr/>
        <a:lstStyle/>
        <a:p>
          <a:endParaRPr lang="en-IN" b="0"/>
        </a:p>
      </dgm:t>
    </dgm:pt>
    <dgm:pt modelId="{17AFEA8D-4BC7-4714-BD7C-A0CE7CA29840}" type="sibTrans" cxnId="{C2C215CD-7EDA-449D-B66C-F2A1F6FAEC5B}">
      <dgm:prSet/>
      <dgm:spPr/>
      <dgm:t>
        <a:bodyPr/>
        <a:lstStyle/>
        <a:p>
          <a:endParaRPr lang="en-IN" b="0"/>
        </a:p>
      </dgm:t>
    </dgm:pt>
    <dgm:pt modelId="{8F5AAD30-1FAC-4AAF-A7CB-989C8AC11B76}">
      <dgm:prSet/>
      <dgm:spPr/>
      <dgm:t>
        <a:bodyPr/>
        <a:lstStyle/>
        <a:p>
          <a:pPr rtl="0"/>
          <a:r>
            <a:rPr lang="en-IN" b="0" i="0" baseline="0" dirty="0" smtClean="0"/>
            <a:t>Connected </a:t>
          </a:r>
          <a:r>
            <a:rPr lang="en-IN" b="1" i="0" baseline="0" dirty="0" smtClean="0"/>
            <a:t>Health and Wellness Eco-System </a:t>
          </a:r>
          <a:endParaRPr lang="en-IN" b="1" i="0" baseline="0" dirty="0"/>
        </a:p>
      </dgm:t>
    </dgm:pt>
    <dgm:pt modelId="{3EC5786E-9411-4249-9759-49E3ADA4C9ED}" type="parTrans" cxnId="{DAE8627A-AA9D-42FA-8109-6F46829A9CFF}">
      <dgm:prSet/>
      <dgm:spPr/>
      <dgm:t>
        <a:bodyPr/>
        <a:lstStyle/>
        <a:p>
          <a:endParaRPr lang="en-IN" b="0"/>
        </a:p>
      </dgm:t>
    </dgm:pt>
    <dgm:pt modelId="{8F44B18B-4024-4DB2-9FE8-C691D30297DF}" type="sibTrans" cxnId="{DAE8627A-AA9D-42FA-8109-6F46829A9CFF}">
      <dgm:prSet/>
      <dgm:spPr/>
      <dgm:t>
        <a:bodyPr/>
        <a:lstStyle/>
        <a:p>
          <a:endParaRPr lang="en-IN" b="0"/>
        </a:p>
      </dgm:t>
    </dgm:pt>
    <dgm:pt modelId="{DD68E148-6956-4476-A0DC-118D25F9DB2D}" type="pres">
      <dgm:prSet presAssocID="{24FCB454-8CC8-4D90-B704-1E832201A3C7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CE0368EF-CAF2-48AC-9EF5-7160E50B8AA4}" type="pres">
      <dgm:prSet presAssocID="{88E2617B-D40C-4F33-8FB0-3803FF1F905A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2D0CD12-C3AD-4316-8B94-ECA846119826}" type="pres">
      <dgm:prSet presAssocID="{31F5E114-808D-4FF7-867C-2AE731AD6BE0}" presName="sibTrans" presStyleCnt="0"/>
      <dgm:spPr/>
    </dgm:pt>
    <dgm:pt modelId="{633BDFED-0608-4562-8A67-FC8EC9CAD797}" type="pres">
      <dgm:prSet presAssocID="{4DF19CF0-DA97-4084-8AF1-6C253A1DF03D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B87A1CC-B7AD-4FFE-9DFE-BD372EF3EDC1}" type="pres">
      <dgm:prSet presAssocID="{FCCD1DAF-82F4-4B84-8AC5-050ADAC67DD9}" presName="sibTrans" presStyleCnt="0"/>
      <dgm:spPr/>
    </dgm:pt>
    <dgm:pt modelId="{473E0FB4-2085-4619-AEC4-D6FC6A397855}" type="pres">
      <dgm:prSet presAssocID="{3D8B3BEC-811D-422E-B968-E3A8B9DB289B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685305B-D145-4EB7-9E8B-A71B370F87FD}" type="pres">
      <dgm:prSet presAssocID="{0C4C1E11-7AEA-4F67-A3CB-206E5AD893BF}" presName="sibTrans" presStyleCnt="0"/>
      <dgm:spPr/>
    </dgm:pt>
    <dgm:pt modelId="{DB0C6217-BD1F-4065-AE88-1E841DE754E4}" type="pres">
      <dgm:prSet presAssocID="{A74F30BB-0788-4BCE-A79A-36814C67A156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C5A5424-E63C-4DD2-8022-F4DA364777C4}" type="pres">
      <dgm:prSet presAssocID="{17AFEA8D-4BC7-4714-BD7C-A0CE7CA29840}" presName="sibTrans" presStyleCnt="0"/>
      <dgm:spPr/>
    </dgm:pt>
    <dgm:pt modelId="{1A0B171F-F93D-401A-8D10-DBADD81BF183}" type="pres">
      <dgm:prSet presAssocID="{8F5AAD30-1FAC-4AAF-A7CB-989C8AC11B76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6BCB336C-26D0-4ABC-BB31-9AC3913053CA}" srcId="{24FCB454-8CC8-4D90-B704-1E832201A3C7}" destId="{88E2617B-D40C-4F33-8FB0-3803FF1F905A}" srcOrd="0" destOrd="0" parTransId="{DB3CDED9-C8B1-4407-A9E7-5C892B5EBEC7}" sibTransId="{31F5E114-808D-4FF7-867C-2AE731AD6BE0}"/>
    <dgm:cxn modelId="{6A8F37DF-9E1E-44D7-A21D-FC2C555334B5}" srcId="{24FCB454-8CC8-4D90-B704-1E832201A3C7}" destId="{4DF19CF0-DA97-4084-8AF1-6C253A1DF03D}" srcOrd="1" destOrd="0" parTransId="{4C067D52-71E7-4044-97BF-675FB72B443F}" sibTransId="{FCCD1DAF-82F4-4B84-8AC5-050ADAC67DD9}"/>
    <dgm:cxn modelId="{0C180C50-C207-4872-AFA4-08023DA84161}" type="presOf" srcId="{8F5AAD30-1FAC-4AAF-A7CB-989C8AC11B76}" destId="{1A0B171F-F93D-401A-8D10-DBADD81BF183}" srcOrd="0" destOrd="0" presId="urn:microsoft.com/office/officeart/2005/8/layout/default"/>
    <dgm:cxn modelId="{DAE8627A-AA9D-42FA-8109-6F46829A9CFF}" srcId="{24FCB454-8CC8-4D90-B704-1E832201A3C7}" destId="{8F5AAD30-1FAC-4AAF-A7CB-989C8AC11B76}" srcOrd="4" destOrd="0" parTransId="{3EC5786E-9411-4249-9759-49E3ADA4C9ED}" sibTransId="{8F44B18B-4024-4DB2-9FE8-C691D30297DF}"/>
    <dgm:cxn modelId="{B6EA8B80-2328-463C-9F61-F47E8F27602B}" type="presOf" srcId="{88E2617B-D40C-4F33-8FB0-3803FF1F905A}" destId="{CE0368EF-CAF2-48AC-9EF5-7160E50B8AA4}" srcOrd="0" destOrd="0" presId="urn:microsoft.com/office/officeart/2005/8/layout/default"/>
    <dgm:cxn modelId="{552FAAFE-51E7-4981-9381-617A73E6A03C}" type="presOf" srcId="{4DF19CF0-DA97-4084-8AF1-6C253A1DF03D}" destId="{633BDFED-0608-4562-8A67-FC8EC9CAD797}" srcOrd="0" destOrd="0" presId="urn:microsoft.com/office/officeart/2005/8/layout/default"/>
    <dgm:cxn modelId="{A7561098-897E-418C-98B9-906B8F3CF76A}" type="presOf" srcId="{24FCB454-8CC8-4D90-B704-1E832201A3C7}" destId="{DD68E148-6956-4476-A0DC-118D25F9DB2D}" srcOrd="0" destOrd="0" presId="urn:microsoft.com/office/officeart/2005/8/layout/default"/>
    <dgm:cxn modelId="{C2C215CD-7EDA-449D-B66C-F2A1F6FAEC5B}" srcId="{24FCB454-8CC8-4D90-B704-1E832201A3C7}" destId="{A74F30BB-0788-4BCE-A79A-36814C67A156}" srcOrd="3" destOrd="0" parTransId="{59BBC2AD-3F30-4C90-91FA-F2FEFC50EB05}" sibTransId="{17AFEA8D-4BC7-4714-BD7C-A0CE7CA29840}"/>
    <dgm:cxn modelId="{362CB8E8-3E75-473A-8469-F19E70561A47}" type="presOf" srcId="{A74F30BB-0788-4BCE-A79A-36814C67A156}" destId="{DB0C6217-BD1F-4065-AE88-1E841DE754E4}" srcOrd="0" destOrd="0" presId="urn:microsoft.com/office/officeart/2005/8/layout/default"/>
    <dgm:cxn modelId="{693DC073-5BBC-4F7E-8BB4-1CAE883B9CCF}" type="presOf" srcId="{3D8B3BEC-811D-422E-B968-E3A8B9DB289B}" destId="{473E0FB4-2085-4619-AEC4-D6FC6A397855}" srcOrd="0" destOrd="0" presId="urn:microsoft.com/office/officeart/2005/8/layout/default"/>
    <dgm:cxn modelId="{A2CE4127-B361-407F-B20B-F06C83255E0B}" srcId="{24FCB454-8CC8-4D90-B704-1E832201A3C7}" destId="{3D8B3BEC-811D-422E-B968-E3A8B9DB289B}" srcOrd="2" destOrd="0" parTransId="{C8F35B72-9E58-4C69-B6C9-D170D1E8BA7F}" sibTransId="{0C4C1E11-7AEA-4F67-A3CB-206E5AD893BF}"/>
    <dgm:cxn modelId="{0D15CAB3-8D36-42B7-A036-7CEF9B8EE44B}" type="presParOf" srcId="{DD68E148-6956-4476-A0DC-118D25F9DB2D}" destId="{CE0368EF-CAF2-48AC-9EF5-7160E50B8AA4}" srcOrd="0" destOrd="0" presId="urn:microsoft.com/office/officeart/2005/8/layout/default"/>
    <dgm:cxn modelId="{BB4980AB-1877-4626-B93C-972AC6C70302}" type="presParOf" srcId="{DD68E148-6956-4476-A0DC-118D25F9DB2D}" destId="{12D0CD12-C3AD-4316-8B94-ECA846119826}" srcOrd="1" destOrd="0" presId="urn:microsoft.com/office/officeart/2005/8/layout/default"/>
    <dgm:cxn modelId="{76FD382F-46F6-495E-B123-DCC372E7C34D}" type="presParOf" srcId="{DD68E148-6956-4476-A0DC-118D25F9DB2D}" destId="{633BDFED-0608-4562-8A67-FC8EC9CAD797}" srcOrd="2" destOrd="0" presId="urn:microsoft.com/office/officeart/2005/8/layout/default"/>
    <dgm:cxn modelId="{C16286DF-487B-4243-8D80-8725DFCBA4BD}" type="presParOf" srcId="{DD68E148-6956-4476-A0DC-118D25F9DB2D}" destId="{8B87A1CC-B7AD-4FFE-9DFE-BD372EF3EDC1}" srcOrd="3" destOrd="0" presId="urn:microsoft.com/office/officeart/2005/8/layout/default"/>
    <dgm:cxn modelId="{3D9016DC-E0E6-42B7-A92C-BFA62D570185}" type="presParOf" srcId="{DD68E148-6956-4476-A0DC-118D25F9DB2D}" destId="{473E0FB4-2085-4619-AEC4-D6FC6A397855}" srcOrd="4" destOrd="0" presId="urn:microsoft.com/office/officeart/2005/8/layout/default"/>
    <dgm:cxn modelId="{124AA186-2C76-42C0-BCDC-265E893BD8EE}" type="presParOf" srcId="{DD68E148-6956-4476-A0DC-118D25F9DB2D}" destId="{D685305B-D145-4EB7-9E8B-A71B370F87FD}" srcOrd="5" destOrd="0" presId="urn:microsoft.com/office/officeart/2005/8/layout/default"/>
    <dgm:cxn modelId="{4081F9D1-EC7F-4857-B41D-01C31EB62F7B}" type="presParOf" srcId="{DD68E148-6956-4476-A0DC-118D25F9DB2D}" destId="{DB0C6217-BD1F-4065-AE88-1E841DE754E4}" srcOrd="6" destOrd="0" presId="urn:microsoft.com/office/officeart/2005/8/layout/default"/>
    <dgm:cxn modelId="{3DC6A6CF-26C2-4AAD-8F2E-8F00E8394781}" type="presParOf" srcId="{DD68E148-6956-4476-A0DC-118D25F9DB2D}" destId="{3C5A5424-E63C-4DD2-8022-F4DA364777C4}" srcOrd="7" destOrd="0" presId="urn:microsoft.com/office/officeart/2005/8/layout/default"/>
    <dgm:cxn modelId="{AB2CFA0B-CCA5-4BD5-8BA3-E8D5E0BF7BD0}" type="presParOf" srcId="{DD68E148-6956-4476-A0DC-118D25F9DB2D}" destId="{1A0B171F-F93D-401A-8D10-DBADD81BF183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DFF7585-E1D4-475A-BDF2-6BA1CDC64626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96C9A118-FED1-455F-BDD3-0D1B4E521B4C}">
      <dgm:prSet/>
      <dgm:spPr/>
      <dgm:t>
        <a:bodyPr/>
        <a:lstStyle/>
        <a:p>
          <a:pPr rtl="0"/>
          <a:r>
            <a:rPr lang="en-IN" b="1" i="0" baseline="0" dirty="0" smtClean="0"/>
            <a:t>First of its kind</a:t>
          </a:r>
          <a:endParaRPr lang="en-IN" b="1" i="0" baseline="0" dirty="0"/>
        </a:p>
      </dgm:t>
    </dgm:pt>
    <dgm:pt modelId="{A25EE187-9255-44C5-AA56-C54C047FE7FF}" type="parTrans" cxnId="{129A60F4-F6F0-4A19-9F02-980BB402A2A2}">
      <dgm:prSet/>
      <dgm:spPr/>
      <dgm:t>
        <a:bodyPr/>
        <a:lstStyle/>
        <a:p>
          <a:endParaRPr lang="en-IN"/>
        </a:p>
      </dgm:t>
    </dgm:pt>
    <dgm:pt modelId="{9986732F-473C-4ED9-A05C-7E9B25CBA591}" type="sibTrans" cxnId="{129A60F4-F6F0-4A19-9F02-980BB402A2A2}">
      <dgm:prSet/>
      <dgm:spPr/>
      <dgm:t>
        <a:bodyPr/>
        <a:lstStyle/>
        <a:p>
          <a:endParaRPr lang="en-IN"/>
        </a:p>
      </dgm:t>
    </dgm:pt>
    <dgm:pt modelId="{94EE48DA-52C3-4725-A399-F11965DD06BC}">
      <dgm:prSet/>
      <dgm:spPr/>
      <dgm:t>
        <a:bodyPr/>
        <a:lstStyle/>
        <a:p>
          <a:pPr rtl="0"/>
          <a:r>
            <a:rPr lang="en-IN" b="0" i="0" baseline="0" dirty="0" smtClean="0"/>
            <a:t>Changed Health Insurance from boring &amp; transactional to engaging &amp; rewarding</a:t>
          </a:r>
          <a:endParaRPr lang="en-IN" b="0" i="0" baseline="0" dirty="0"/>
        </a:p>
      </dgm:t>
    </dgm:pt>
    <dgm:pt modelId="{F744B05A-4688-492B-96FC-BC86A78D3994}" type="parTrans" cxnId="{D887FD4C-DAEA-4484-B4DD-57794317E083}">
      <dgm:prSet/>
      <dgm:spPr/>
      <dgm:t>
        <a:bodyPr/>
        <a:lstStyle/>
        <a:p>
          <a:endParaRPr lang="en-IN"/>
        </a:p>
      </dgm:t>
    </dgm:pt>
    <dgm:pt modelId="{27B268CC-B2B8-4146-BE36-E8727BF94D8E}" type="sibTrans" cxnId="{D887FD4C-DAEA-4484-B4DD-57794317E083}">
      <dgm:prSet/>
      <dgm:spPr/>
      <dgm:t>
        <a:bodyPr/>
        <a:lstStyle/>
        <a:p>
          <a:endParaRPr lang="en-IN"/>
        </a:p>
      </dgm:t>
    </dgm:pt>
    <dgm:pt modelId="{082C0A66-CD05-4393-9911-FEB71374D2BE}">
      <dgm:prSet/>
      <dgm:spPr/>
      <dgm:t>
        <a:bodyPr/>
        <a:lstStyle/>
        <a:p>
          <a:pPr rtl="0"/>
          <a:r>
            <a:rPr lang="en-IN" b="1" i="0" baseline="0" dirty="0" smtClean="0"/>
            <a:t>Rich digital platform </a:t>
          </a:r>
          <a:endParaRPr lang="en-IN" b="1" i="0" baseline="0" dirty="0"/>
        </a:p>
      </dgm:t>
    </dgm:pt>
    <dgm:pt modelId="{FBACF557-CC18-480D-9C21-9449683BE50E}" type="parTrans" cxnId="{B8373551-E832-490B-B42A-8737D1667AF5}">
      <dgm:prSet/>
      <dgm:spPr/>
      <dgm:t>
        <a:bodyPr/>
        <a:lstStyle/>
        <a:p>
          <a:endParaRPr lang="en-IN"/>
        </a:p>
      </dgm:t>
    </dgm:pt>
    <dgm:pt modelId="{CED23F83-ECC8-4B34-A7BD-4A1F5048D7BB}" type="sibTrans" cxnId="{B8373551-E832-490B-B42A-8737D1667AF5}">
      <dgm:prSet/>
      <dgm:spPr/>
      <dgm:t>
        <a:bodyPr/>
        <a:lstStyle/>
        <a:p>
          <a:endParaRPr lang="en-IN"/>
        </a:p>
      </dgm:t>
    </dgm:pt>
    <dgm:pt modelId="{8CA8238C-4368-4F47-8B1D-974228F61F5E}">
      <dgm:prSet/>
      <dgm:spPr/>
      <dgm:t>
        <a:bodyPr/>
        <a:lstStyle/>
        <a:p>
          <a:pPr rtl="0"/>
          <a:r>
            <a:rPr lang="en-IN" b="0" i="0" baseline="0" smtClean="0"/>
            <a:t>New Business</a:t>
          </a:r>
          <a:endParaRPr lang="en-IN" b="0" dirty="0"/>
        </a:p>
      </dgm:t>
    </dgm:pt>
    <dgm:pt modelId="{AF667262-79DE-4A38-8BD4-E7FAD136A210}" type="parTrans" cxnId="{8DEAB29C-5651-4A2A-96FE-1330A59A12B6}">
      <dgm:prSet/>
      <dgm:spPr/>
      <dgm:t>
        <a:bodyPr/>
        <a:lstStyle/>
        <a:p>
          <a:endParaRPr lang="en-IN"/>
        </a:p>
      </dgm:t>
    </dgm:pt>
    <dgm:pt modelId="{82136F1A-81D1-46DC-8B31-D048DE4A7D73}" type="sibTrans" cxnId="{8DEAB29C-5651-4A2A-96FE-1330A59A12B6}">
      <dgm:prSet/>
      <dgm:spPr/>
      <dgm:t>
        <a:bodyPr/>
        <a:lstStyle/>
        <a:p>
          <a:endParaRPr lang="en-IN"/>
        </a:p>
      </dgm:t>
    </dgm:pt>
    <dgm:pt modelId="{6A6D0A32-E264-4694-B6E0-B2912CDFAFB2}">
      <dgm:prSet/>
      <dgm:spPr/>
      <dgm:t>
        <a:bodyPr/>
        <a:lstStyle/>
        <a:p>
          <a:pPr rtl="0"/>
          <a:r>
            <a:rPr lang="en-IN" b="1" i="0" baseline="0" dirty="0" smtClean="0"/>
            <a:t>Wellness Features</a:t>
          </a:r>
          <a:endParaRPr lang="en-IN" b="1" i="0" baseline="0" dirty="0"/>
        </a:p>
      </dgm:t>
    </dgm:pt>
    <dgm:pt modelId="{B8AD2374-0E16-4433-BDD1-178B4A9BCA02}" type="parTrans" cxnId="{C07E3F6D-A22B-44ED-B841-B3E32EC2123C}">
      <dgm:prSet/>
      <dgm:spPr/>
      <dgm:t>
        <a:bodyPr/>
        <a:lstStyle/>
        <a:p>
          <a:endParaRPr lang="en-IN"/>
        </a:p>
      </dgm:t>
    </dgm:pt>
    <dgm:pt modelId="{7B1C0D6E-A04B-4532-A540-9C101D83B3EA}" type="sibTrans" cxnId="{C07E3F6D-A22B-44ED-B841-B3E32EC2123C}">
      <dgm:prSet/>
      <dgm:spPr/>
      <dgm:t>
        <a:bodyPr/>
        <a:lstStyle/>
        <a:p>
          <a:endParaRPr lang="en-IN"/>
        </a:p>
      </dgm:t>
    </dgm:pt>
    <dgm:pt modelId="{3BF7D831-15CF-4894-9D97-4AEC78D84DFC}">
      <dgm:prSet/>
      <dgm:spPr/>
      <dgm:t>
        <a:bodyPr/>
        <a:lstStyle/>
        <a:p>
          <a:pPr rtl="0"/>
          <a:r>
            <a:rPr lang="en-IN" b="0" i="0" baseline="0" dirty="0" smtClean="0"/>
            <a:t>Comprehensive integration with wellness program</a:t>
          </a:r>
          <a:endParaRPr lang="en-IN" b="0" i="0" baseline="0" dirty="0"/>
        </a:p>
      </dgm:t>
    </dgm:pt>
    <dgm:pt modelId="{4CF8D1C1-40C0-4A63-AE85-495957CC8396}" type="parTrans" cxnId="{205596BD-3979-4B22-B707-B014976E0061}">
      <dgm:prSet/>
      <dgm:spPr/>
      <dgm:t>
        <a:bodyPr/>
        <a:lstStyle/>
        <a:p>
          <a:endParaRPr lang="en-IN"/>
        </a:p>
      </dgm:t>
    </dgm:pt>
    <dgm:pt modelId="{ADF95556-20B6-4136-B2CC-048EC0300207}" type="sibTrans" cxnId="{205596BD-3979-4B22-B707-B014976E0061}">
      <dgm:prSet/>
      <dgm:spPr/>
      <dgm:t>
        <a:bodyPr/>
        <a:lstStyle/>
        <a:p>
          <a:endParaRPr lang="en-IN"/>
        </a:p>
      </dgm:t>
    </dgm:pt>
    <dgm:pt modelId="{91EEE092-0501-4AD1-83B5-1E3F45FD6804}">
      <dgm:prSet/>
      <dgm:spPr/>
      <dgm:t>
        <a:bodyPr/>
        <a:lstStyle/>
        <a:p>
          <a:pPr rtl="0"/>
          <a:r>
            <a:rPr lang="en-IN" b="0" i="0" baseline="0" dirty="0" smtClean="0"/>
            <a:t>Digital Service &amp; Support</a:t>
          </a:r>
          <a:endParaRPr lang="en-IN" b="0" dirty="0"/>
        </a:p>
      </dgm:t>
    </dgm:pt>
    <dgm:pt modelId="{575377B8-FBE4-4651-847B-3274FA69F0FF}" type="parTrans" cxnId="{AAFBFA8D-F5CC-4820-B87E-7C6242CFC4A3}">
      <dgm:prSet/>
      <dgm:spPr/>
      <dgm:t>
        <a:bodyPr/>
        <a:lstStyle/>
        <a:p>
          <a:endParaRPr lang="en-IN"/>
        </a:p>
      </dgm:t>
    </dgm:pt>
    <dgm:pt modelId="{A6E9C012-D50B-4F37-9C96-633C95E7D2B1}" type="sibTrans" cxnId="{AAFBFA8D-F5CC-4820-B87E-7C6242CFC4A3}">
      <dgm:prSet/>
      <dgm:spPr/>
      <dgm:t>
        <a:bodyPr/>
        <a:lstStyle/>
        <a:p>
          <a:endParaRPr lang="en-IN"/>
        </a:p>
      </dgm:t>
    </dgm:pt>
    <dgm:pt modelId="{2F5F54E6-6217-461A-9450-7408B2C33CCC}">
      <dgm:prSet/>
      <dgm:spPr/>
      <dgm:t>
        <a:bodyPr/>
        <a:lstStyle/>
        <a:p>
          <a:pPr rtl="0"/>
          <a:r>
            <a:rPr lang="en-IN" b="0" i="0" baseline="0" dirty="0" smtClean="0"/>
            <a:t>Work as Health Partners of every individual by helping him stay fit &amp; improve his health</a:t>
          </a:r>
          <a:endParaRPr lang="en-IN" b="0" i="0" baseline="0" dirty="0"/>
        </a:p>
      </dgm:t>
    </dgm:pt>
    <dgm:pt modelId="{DDD875F5-20F3-4D99-A88A-BD892F09E58A}" type="parTrans" cxnId="{800B186C-73DC-4FEF-BEA3-6925D2703CD5}">
      <dgm:prSet/>
      <dgm:spPr/>
      <dgm:t>
        <a:bodyPr/>
        <a:lstStyle/>
        <a:p>
          <a:endParaRPr lang="en-IN"/>
        </a:p>
      </dgm:t>
    </dgm:pt>
    <dgm:pt modelId="{D2A06A7C-E469-4303-B00D-752DEA730F7D}" type="sibTrans" cxnId="{800B186C-73DC-4FEF-BEA3-6925D2703CD5}">
      <dgm:prSet/>
      <dgm:spPr/>
      <dgm:t>
        <a:bodyPr/>
        <a:lstStyle/>
        <a:p>
          <a:endParaRPr lang="en-IN"/>
        </a:p>
      </dgm:t>
    </dgm:pt>
    <dgm:pt modelId="{27B6F961-73E0-4599-8C7E-C99A0B78A0A4}">
      <dgm:prSet/>
      <dgm:spPr/>
      <dgm:t>
        <a:bodyPr/>
        <a:lstStyle/>
        <a:p>
          <a:pPr rtl="0"/>
          <a:r>
            <a:rPr lang="en-IN" b="0" i="0" baseline="0" dirty="0" err="1" smtClean="0"/>
            <a:t>Activ</a:t>
          </a:r>
          <a:r>
            <a:rPr lang="en-IN" b="0" i="0" baseline="0" dirty="0" smtClean="0"/>
            <a:t> Health integrates with 3000+ Health &amp; Fitness Apps</a:t>
          </a:r>
          <a:endParaRPr lang="en-IN" b="0" i="0" baseline="0" dirty="0"/>
        </a:p>
      </dgm:t>
    </dgm:pt>
    <dgm:pt modelId="{3E8A7FE0-E5F6-4E40-9171-B5E25C854617}" type="parTrans" cxnId="{AB920DAE-21B0-4FEE-B81E-1EA94936DBF1}">
      <dgm:prSet/>
      <dgm:spPr/>
      <dgm:t>
        <a:bodyPr/>
        <a:lstStyle/>
        <a:p>
          <a:endParaRPr lang="en-IN"/>
        </a:p>
      </dgm:t>
    </dgm:pt>
    <dgm:pt modelId="{64AA4BD3-EC74-471F-99F7-782A7C8A5074}" type="sibTrans" cxnId="{AB920DAE-21B0-4FEE-B81E-1EA94936DBF1}">
      <dgm:prSet/>
      <dgm:spPr/>
      <dgm:t>
        <a:bodyPr/>
        <a:lstStyle/>
        <a:p>
          <a:endParaRPr lang="en-IN"/>
        </a:p>
      </dgm:t>
    </dgm:pt>
    <dgm:pt modelId="{5D3FE22C-4891-4D40-8F18-E33B8F235BC0}">
      <dgm:prSet/>
      <dgm:spPr/>
      <dgm:t>
        <a:bodyPr/>
        <a:lstStyle/>
        <a:p>
          <a:pPr rtl="0"/>
          <a:r>
            <a:rPr lang="en-IN" b="0" i="0" baseline="0" dirty="0" smtClean="0"/>
            <a:t>Captures 100+ health and activity data points of the customers then processed to assess customer fitness levels &amp; health risks</a:t>
          </a:r>
          <a:endParaRPr lang="en-IN" b="0" i="0" baseline="0" dirty="0"/>
        </a:p>
      </dgm:t>
    </dgm:pt>
    <dgm:pt modelId="{51DD7AA0-5B0F-4F33-A2AB-DBB0E0DEED94}" type="parTrans" cxnId="{522AD07C-AE17-4452-8327-6FDD412C1740}">
      <dgm:prSet/>
      <dgm:spPr/>
      <dgm:t>
        <a:bodyPr/>
        <a:lstStyle/>
        <a:p>
          <a:endParaRPr lang="en-IN"/>
        </a:p>
      </dgm:t>
    </dgm:pt>
    <dgm:pt modelId="{1161DC68-9A6B-4E3C-96DD-FAE0A78502C7}" type="sibTrans" cxnId="{522AD07C-AE17-4452-8327-6FDD412C1740}">
      <dgm:prSet/>
      <dgm:spPr/>
      <dgm:t>
        <a:bodyPr/>
        <a:lstStyle/>
        <a:p>
          <a:endParaRPr lang="en-IN"/>
        </a:p>
      </dgm:t>
    </dgm:pt>
    <dgm:pt modelId="{0FA19AAF-B2A4-4F82-A4DE-773FA0B97C8E}">
      <dgm:prSet/>
      <dgm:spPr/>
      <dgm:t>
        <a:bodyPr/>
        <a:lstStyle/>
        <a:p>
          <a:pPr rtl="0"/>
          <a:r>
            <a:rPr lang="en-IN" b="0" i="0" baseline="0" dirty="0" smtClean="0"/>
            <a:t>Personalized Digital Health Records on the go</a:t>
          </a:r>
        </a:p>
      </dgm:t>
    </dgm:pt>
    <dgm:pt modelId="{53B93C3A-6DE7-4FB4-B892-6BA3C7F0632E}" type="parTrans" cxnId="{D29E5C01-E9E9-426D-95F6-839F1D5032CA}">
      <dgm:prSet/>
      <dgm:spPr/>
      <dgm:t>
        <a:bodyPr/>
        <a:lstStyle/>
        <a:p>
          <a:endParaRPr lang="en-IN"/>
        </a:p>
      </dgm:t>
    </dgm:pt>
    <dgm:pt modelId="{CD1EC934-53D8-452A-B036-A07DBA3AF58C}" type="sibTrans" cxnId="{D29E5C01-E9E9-426D-95F6-839F1D5032CA}">
      <dgm:prSet/>
      <dgm:spPr/>
      <dgm:t>
        <a:bodyPr/>
        <a:lstStyle/>
        <a:p>
          <a:endParaRPr lang="en-IN"/>
        </a:p>
      </dgm:t>
    </dgm:pt>
    <dgm:pt modelId="{AE6BE9E6-A41C-4A23-A686-BB83768645E1}">
      <dgm:prSet/>
      <dgm:spPr/>
      <dgm:t>
        <a:bodyPr/>
        <a:lstStyle/>
        <a:p>
          <a:pPr rtl="0"/>
          <a:r>
            <a:rPr lang="en-IN" b="0" i="0" baseline="0" dirty="0" smtClean="0"/>
            <a:t>2 way Customer Engagement - Embedded Wellness, DRM, Cashless</a:t>
          </a:r>
          <a:endParaRPr lang="en-IN" b="0" dirty="0"/>
        </a:p>
      </dgm:t>
    </dgm:pt>
    <dgm:pt modelId="{4E1BB73E-0F95-45F6-A215-D7A17CA41B00}" type="sibTrans" cxnId="{4F7C95F9-F1D1-452A-A716-1D8D9947103F}">
      <dgm:prSet/>
      <dgm:spPr/>
      <dgm:t>
        <a:bodyPr/>
        <a:lstStyle/>
        <a:p>
          <a:endParaRPr lang="en-IN"/>
        </a:p>
      </dgm:t>
    </dgm:pt>
    <dgm:pt modelId="{D0C3AC32-05F7-4674-B7A6-C9EB238C5674}" type="parTrans" cxnId="{4F7C95F9-F1D1-452A-A716-1D8D9947103F}">
      <dgm:prSet/>
      <dgm:spPr/>
      <dgm:t>
        <a:bodyPr/>
        <a:lstStyle/>
        <a:p>
          <a:endParaRPr lang="en-IN"/>
        </a:p>
      </dgm:t>
    </dgm:pt>
    <dgm:pt modelId="{AA657154-C2D6-4AF9-B499-C9F379025D67}">
      <dgm:prSet/>
      <dgm:spPr/>
      <dgm:t>
        <a:bodyPr/>
        <a:lstStyle/>
        <a:p>
          <a:pPr rtl="0"/>
          <a:r>
            <a:rPr lang="en-IN" b="0" i="0" baseline="0" dirty="0" smtClean="0"/>
            <a:t>Chronic Management Program</a:t>
          </a:r>
          <a:endParaRPr lang="en-IN" b="0" i="0" baseline="0" dirty="0"/>
        </a:p>
      </dgm:t>
    </dgm:pt>
    <dgm:pt modelId="{2DA10440-F550-454E-8A61-720D40543299}" type="parTrans" cxnId="{34D60C06-0F2F-440C-BA63-DF403B34B3A6}">
      <dgm:prSet/>
      <dgm:spPr/>
      <dgm:t>
        <a:bodyPr/>
        <a:lstStyle/>
        <a:p>
          <a:endParaRPr lang="en-IN"/>
        </a:p>
      </dgm:t>
    </dgm:pt>
    <dgm:pt modelId="{935A0CD8-81BC-4F4B-A1E1-5BA181862813}" type="sibTrans" cxnId="{34D60C06-0F2F-440C-BA63-DF403B34B3A6}">
      <dgm:prSet/>
      <dgm:spPr/>
      <dgm:t>
        <a:bodyPr/>
        <a:lstStyle/>
        <a:p>
          <a:endParaRPr lang="en-IN"/>
        </a:p>
      </dgm:t>
    </dgm:pt>
    <dgm:pt modelId="{BF4ECEA0-AA79-46FE-9787-C449D1B84479}">
      <dgm:prSet/>
      <dgm:spPr/>
      <dgm:t>
        <a:bodyPr/>
        <a:lstStyle/>
        <a:p>
          <a:pPr rtl="0"/>
          <a:r>
            <a:rPr lang="en-IN" b="0" i="0" baseline="0" dirty="0" smtClean="0"/>
            <a:t>Developed a 2000+ network of doctors/hospitals</a:t>
          </a:r>
        </a:p>
      </dgm:t>
    </dgm:pt>
    <dgm:pt modelId="{88473C6F-2895-4BA1-B298-91E5A0CF5BB5}" type="parTrans" cxnId="{6A0A42F4-8A9D-46C8-8812-978D34A219DD}">
      <dgm:prSet/>
      <dgm:spPr/>
      <dgm:t>
        <a:bodyPr/>
        <a:lstStyle/>
        <a:p>
          <a:endParaRPr lang="en-IN"/>
        </a:p>
      </dgm:t>
    </dgm:pt>
    <dgm:pt modelId="{5135FD25-4F85-4AEC-A3E9-4BBFE7A8B762}" type="sibTrans" cxnId="{6A0A42F4-8A9D-46C8-8812-978D34A219DD}">
      <dgm:prSet/>
      <dgm:spPr/>
      <dgm:t>
        <a:bodyPr/>
        <a:lstStyle/>
        <a:p>
          <a:endParaRPr lang="en-IN"/>
        </a:p>
      </dgm:t>
    </dgm:pt>
    <dgm:pt modelId="{A3A77683-72D8-41E2-85FD-93BC7F246CF4}" type="pres">
      <dgm:prSet presAssocID="{8DFF7585-E1D4-475A-BDF2-6BA1CDC6462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56AF8524-F168-41C4-AB76-36B9AF1A353E}" type="pres">
      <dgm:prSet presAssocID="{96C9A118-FED1-455F-BDD3-0D1B4E521B4C}" presName="composite" presStyleCnt="0"/>
      <dgm:spPr/>
    </dgm:pt>
    <dgm:pt modelId="{10373C35-0284-4E98-BB1B-DD72FF3636F5}" type="pres">
      <dgm:prSet presAssocID="{96C9A118-FED1-455F-BDD3-0D1B4E521B4C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54C3841-8E48-4184-9AFF-881F8F2C7804}" type="pres">
      <dgm:prSet presAssocID="{96C9A118-FED1-455F-BDD3-0D1B4E521B4C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E717817-022A-42E4-967A-C24ED75B15E2}" type="pres">
      <dgm:prSet presAssocID="{9986732F-473C-4ED9-A05C-7E9B25CBA591}" presName="space" presStyleCnt="0"/>
      <dgm:spPr/>
    </dgm:pt>
    <dgm:pt modelId="{6E2AE376-ABEA-443B-9D45-F20EA521CE67}" type="pres">
      <dgm:prSet presAssocID="{082C0A66-CD05-4393-9911-FEB71374D2BE}" presName="composite" presStyleCnt="0"/>
      <dgm:spPr/>
    </dgm:pt>
    <dgm:pt modelId="{036C0E15-6718-45D4-8C58-4897A824DBF7}" type="pres">
      <dgm:prSet presAssocID="{082C0A66-CD05-4393-9911-FEB71374D2BE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F4391E9-57E3-4E5E-AFF7-99E263708FCB}" type="pres">
      <dgm:prSet presAssocID="{082C0A66-CD05-4393-9911-FEB71374D2BE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9C95385F-8D92-42A4-8AF1-25C72840CCDD}" type="pres">
      <dgm:prSet presAssocID="{CED23F83-ECC8-4B34-A7BD-4A1F5048D7BB}" presName="space" presStyleCnt="0"/>
      <dgm:spPr/>
    </dgm:pt>
    <dgm:pt modelId="{395FBE7D-B976-4FBE-861E-17BDB136E6C0}" type="pres">
      <dgm:prSet presAssocID="{6A6D0A32-E264-4694-B6E0-B2912CDFAFB2}" presName="composite" presStyleCnt="0"/>
      <dgm:spPr/>
    </dgm:pt>
    <dgm:pt modelId="{DD5DAA4D-D152-425E-9EDF-12C87AF9361B}" type="pres">
      <dgm:prSet presAssocID="{6A6D0A32-E264-4694-B6E0-B2912CDFAFB2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091759A-B76A-45B8-A1A5-A301182BCBD7}" type="pres">
      <dgm:prSet presAssocID="{6A6D0A32-E264-4694-B6E0-B2912CDFAFB2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C07E3F6D-A22B-44ED-B841-B3E32EC2123C}" srcId="{8DFF7585-E1D4-475A-BDF2-6BA1CDC64626}" destId="{6A6D0A32-E264-4694-B6E0-B2912CDFAFB2}" srcOrd="2" destOrd="0" parTransId="{B8AD2374-0E16-4433-BDD1-178B4A9BCA02}" sibTransId="{7B1C0D6E-A04B-4532-A540-9C101D83B3EA}"/>
    <dgm:cxn modelId="{129A60F4-F6F0-4A19-9F02-980BB402A2A2}" srcId="{8DFF7585-E1D4-475A-BDF2-6BA1CDC64626}" destId="{96C9A118-FED1-455F-BDD3-0D1B4E521B4C}" srcOrd="0" destOrd="0" parTransId="{A25EE187-9255-44C5-AA56-C54C047FE7FF}" sibTransId="{9986732F-473C-4ED9-A05C-7E9B25CBA591}"/>
    <dgm:cxn modelId="{F1743590-CFBC-47B8-902B-6BF3A0442A24}" type="presOf" srcId="{3BF7D831-15CF-4894-9D97-4AEC78D84DFC}" destId="{D091759A-B76A-45B8-A1A5-A301182BCBD7}" srcOrd="0" destOrd="0" presId="urn:microsoft.com/office/officeart/2005/8/layout/hList1"/>
    <dgm:cxn modelId="{1CBB1324-6F05-45EB-B841-84A6037F8A9B}" type="presOf" srcId="{AE6BE9E6-A41C-4A23-A686-BB83768645E1}" destId="{DF4391E9-57E3-4E5E-AFF7-99E263708FCB}" srcOrd="0" destOrd="1" presId="urn:microsoft.com/office/officeart/2005/8/layout/hList1"/>
    <dgm:cxn modelId="{339E63D2-8813-4EE4-A2E5-A2A4A89F68D5}" type="presOf" srcId="{0FA19AAF-B2A4-4F82-A4DE-773FA0B97C8E}" destId="{DF4391E9-57E3-4E5E-AFF7-99E263708FCB}" srcOrd="0" destOrd="3" presId="urn:microsoft.com/office/officeart/2005/8/layout/hList1"/>
    <dgm:cxn modelId="{2F99F687-91E8-4E4C-9ABF-FAF6BD6BEFCA}" type="presOf" srcId="{BF4ECEA0-AA79-46FE-9787-C449D1B84479}" destId="{DF4391E9-57E3-4E5E-AFF7-99E263708FCB}" srcOrd="0" destOrd="4" presId="urn:microsoft.com/office/officeart/2005/8/layout/hList1"/>
    <dgm:cxn modelId="{EAABE4DB-0100-4F96-B4D8-D031ED9B6788}" type="presOf" srcId="{96C9A118-FED1-455F-BDD3-0D1B4E521B4C}" destId="{10373C35-0284-4E98-BB1B-DD72FF3636F5}" srcOrd="0" destOrd="0" presId="urn:microsoft.com/office/officeart/2005/8/layout/hList1"/>
    <dgm:cxn modelId="{AB920DAE-21B0-4FEE-B81E-1EA94936DBF1}" srcId="{6A6D0A32-E264-4694-B6E0-B2912CDFAFB2}" destId="{27B6F961-73E0-4599-8C7E-C99A0B78A0A4}" srcOrd="1" destOrd="0" parTransId="{3E8A7FE0-E5F6-4E40-9171-B5E25C854617}" sibTransId="{64AA4BD3-EC74-471F-99F7-782A7C8A5074}"/>
    <dgm:cxn modelId="{800B186C-73DC-4FEF-BEA3-6925D2703CD5}" srcId="{96C9A118-FED1-455F-BDD3-0D1B4E521B4C}" destId="{2F5F54E6-6217-461A-9450-7408B2C33CCC}" srcOrd="1" destOrd="0" parTransId="{DDD875F5-20F3-4D99-A88A-BD892F09E58A}" sibTransId="{D2A06A7C-E469-4303-B00D-752DEA730F7D}"/>
    <dgm:cxn modelId="{E6C75C78-A0E3-4CCF-BCEF-4678E74B6C0D}" type="presOf" srcId="{2F5F54E6-6217-461A-9450-7408B2C33CCC}" destId="{D54C3841-8E48-4184-9AFF-881F8F2C7804}" srcOrd="0" destOrd="1" presId="urn:microsoft.com/office/officeart/2005/8/layout/hList1"/>
    <dgm:cxn modelId="{6646FC36-CA8B-47EF-A56B-4B6410F0AC11}" type="presOf" srcId="{8CA8238C-4368-4F47-8B1D-974228F61F5E}" destId="{DF4391E9-57E3-4E5E-AFF7-99E263708FCB}" srcOrd="0" destOrd="0" presId="urn:microsoft.com/office/officeart/2005/8/layout/hList1"/>
    <dgm:cxn modelId="{DCC51918-A4FB-48A0-B22E-6A647E94E4BE}" type="presOf" srcId="{91EEE092-0501-4AD1-83B5-1E3F45FD6804}" destId="{DF4391E9-57E3-4E5E-AFF7-99E263708FCB}" srcOrd="0" destOrd="2" presId="urn:microsoft.com/office/officeart/2005/8/layout/hList1"/>
    <dgm:cxn modelId="{4F7C95F9-F1D1-452A-A716-1D8D9947103F}" srcId="{082C0A66-CD05-4393-9911-FEB71374D2BE}" destId="{AE6BE9E6-A41C-4A23-A686-BB83768645E1}" srcOrd="1" destOrd="0" parTransId="{D0C3AC32-05F7-4674-B7A6-C9EB238C5674}" sibTransId="{4E1BB73E-0F95-45F6-A215-D7A17CA41B00}"/>
    <dgm:cxn modelId="{522AD07C-AE17-4452-8327-6FDD412C1740}" srcId="{6A6D0A32-E264-4694-B6E0-B2912CDFAFB2}" destId="{5D3FE22C-4891-4D40-8F18-E33B8F235BC0}" srcOrd="2" destOrd="0" parTransId="{51DD7AA0-5B0F-4F33-A2AB-DBB0E0DEED94}" sibTransId="{1161DC68-9A6B-4E3C-96DD-FAE0A78502C7}"/>
    <dgm:cxn modelId="{1C6D9BDF-8377-4D2E-9FE9-45563FBF27B1}" type="presOf" srcId="{5D3FE22C-4891-4D40-8F18-E33B8F235BC0}" destId="{D091759A-B76A-45B8-A1A5-A301182BCBD7}" srcOrd="0" destOrd="2" presId="urn:microsoft.com/office/officeart/2005/8/layout/hList1"/>
    <dgm:cxn modelId="{1452742C-1B7E-4AB5-9A12-15D54C32E4BE}" type="presOf" srcId="{082C0A66-CD05-4393-9911-FEB71374D2BE}" destId="{036C0E15-6718-45D4-8C58-4897A824DBF7}" srcOrd="0" destOrd="0" presId="urn:microsoft.com/office/officeart/2005/8/layout/hList1"/>
    <dgm:cxn modelId="{D29E5C01-E9E9-426D-95F6-839F1D5032CA}" srcId="{082C0A66-CD05-4393-9911-FEB71374D2BE}" destId="{0FA19AAF-B2A4-4F82-A4DE-773FA0B97C8E}" srcOrd="3" destOrd="0" parTransId="{53B93C3A-6DE7-4FB4-B892-6BA3C7F0632E}" sibTransId="{CD1EC934-53D8-452A-B036-A07DBA3AF58C}"/>
    <dgm:cxn modelId="{A69F19CF-FAC4-4C41-AB57-821496F6D0C7}" type="presOf" srcId="{8DFF7585-E1D4-475A-BDF2-6BA1CDC64626}" destId="{A3A77683-72D8-41E2-85FD-93BC7F246CF4}" srcOrd="0" destOrd="0" presId="urn:microsoft.com/office/officeart/2005/8/layout/hList1"/>
    <dgm:cxn modelId="{AAFBFA8D-F5CC-4820-B87E-7C6242CFC4A3}" srcId="{082C0A66-CD05-4393-9911-FEB71374D2BE}" destId="{91EEE092-0501-4AD1-83B5-1E3F45FD6804}" srcOrd="2" destOrd="0" parTransId="{575377B8-FBE4-4651-847B-3274FA69F0FF}" sibTransId="{A6E9C012-D50B-4F37-9C96-633C95E7D2B1}"/>
    <dgm:cxn modelId="{1C4D0E7D-8F4C-4314-AF4F-EC5B803F3491}" type="presOf" srcId="{27B6F961-73E0-4599-8C7E-C99A0B78A0A4}" destId="{D091759A-B76A-45B8-A1A5-A301182BCBD7}" srcOrd="0" destOrd="1" presId="urn:microsoft.com/office/officeart/2005/8/layout/hList1"/>
    <dgm:cxn modelId="{C634B8C8-A89C-4D0E-813B-19DC093F189A}" type="presOf" srcId="{6A6D0A32-E264-4694-B6E0-B2912CDFAFB2}" destId="{DD5DAA4D-D152-425E-9EDF-12C87AF9361B}" srcOrd="0" destOrd="0" presId="urn:microsoft.com/office/officeart/2005/8/layout/hList1"/>
    <dgm:cxn modelId="{51DDD14E-6487-4B0B-B6D2-7399B516BB3B}" type="presOf" srcId="{94EE48DA-52C3-4725-A399-F11965DD06BC}" destId="{D54C3841-8E48-4184-9AFF-881F8F2C7804}" srcOrd="0" destOrd="0" presId="urn:microsoft.com/office/officeart/2005/8/layout/hList1"/>
    <dgm:cxn modelId="{6A0A42F4-8A9D-46C8-8812-978D34A219DD}" srcId="{082C0A66-CD05-4393-9911-FEB71374D2BE}" destId="{BF4ECEA0-AA79-46FE-9787-C449D1B84479}" srcOrd="4" destOrd="0" parTransId="{88473C6F-2895-4BA1-B298-91E5A0CF5BB5}" sibTransId="{5135FD25-4F85-4AEC-A3E9-4BBFE7A8B762}"/>
    <dgm:cxn modelId="{470DBE25-8899-4912-BFEF-8DEEB1842D48}" type="presOf" srcId="{AA657154-C2D6-4AF9-B499-C9F379025D67}" destId="{D54C3841-8E48-4184-9AFF-881F8F2C7804}" srcOrd="0" destOrd="2" presId="urn:microsoft.com/office/officeart/2005/8/layout/hList1"/>
    <dgm:cxn modelId="{B8373551-E832-490B-B42A-8737D1667AF5}" srcId="{8DFF7585-E1D4-475A-BDF2-6BA1CDC64626}" destId="{082C0A66-CD05-4393-9911-FEB71374D2BE}" srcOrd="1" destOrd="0" parTransId="{FBACF557-CC18-480D-9C21-9449683BE50E}" sibTransId="{CED23F83-ECC8-4B34-A7BD-4A1F5048D7BB}"/>
    <dgm:cxn modelId="{D887FD4C-DAEA-4484-B4DD-57794317E083}" srcId="{96C9A118-FED1-455F-BDD3-0D1B4E521B4C}" destId="{94EE48DA-52C3-4725-A399-F11965DD06BC}" srcOrd="0" destOrd="0" parTransId="{F744B05A-4688-492B-96FC-BC86A78D3994}" sibTransId="{27B268CC-B2B8-4146-BE36-E8727BF94D8E}"/>
    <dgm:cxn modelId="{205596BD-3979-4B22-B707-B014976E0061}" srcId="{6A6D0A32-E264-4694-B6E0-B2912CDFAFB2}" destId="{3BF7D831-15CF-4894-9D97-4AEC78D84DFC}" srcOrd="0" destOrd="0" parTransId="{4CF8D1C1-40C0-4A63-AE85-495957CC8396}" sibTransId="{ADF95556-20B6-4136-B2CC-048EC0300207}"/>
    <dgm:cxn modelId="{34D60C06-0F2F-440C-BA63-DF403B34B3A6}" srcId="{96C9A118-FED1-455F-BDD3-0D1B4E521B4C}" destId="{AA657154-C2D6-4AF9-B499-C9F379025D67}" srcOrd="2" destOrd="0" parTransId="{2DA10440-F550-454E-8A61-720D40543299}" sibTransId="{935A0CD8-81BC-4F4B-A1E1-5BA181862813}"/>
    <dgm:cxn modelId="{8DEAB29C-5651-4A2A-96FE-1330A59A12B6}" srcId="{082C0A66-CD05-4393-9911-FEB71374D2BE}" destId="{8CA8238C-4368-4F47-8B1D-974228F61F5E}" srcOrd="0" destOrd="0" parTransId="{AF667262-79DE-4A38-8BD4-E7FAD136A210}" sibTransId="{82136F1A-81D1-46DC-8B31-D048DE4A7D73}"/>
    <dgm:cxn modelId="{DD7026A1-12BF-46A4-B66A-F4C763363BA3}" type="presParOf" srcId="{A3A77683-72D8-41E2-85FD-93BC7F246CF4}" destId="{56AF8524-F168-41C4-AB76-36B9AF1A353E}" srcOrd="0" destOrd="0" presId="urn:microsoft.com/office/officeart/2005/8/layout/hList1"/>
    <dgm:cxn modelId="{8BCDAA44-0E1E-49CD-9516-4CCF444C1F74}" type="presParOf" srcId="{56AF8524-F168-41C4-AB76-36B9AF1A353E}" destId="{10373C35-0284-4E98-BB1B-DD72FF3636F5}" srcOrd="0" destOrd="0" presId="urn:microsoft.com/office/officeart/2005/8/layout/hList1"/>
    <dgm:cxn modelId="{C109FA02-3C76-4099-8FB4-CB5268604CF3}" type="presParOf" srcId="{56AF8524-F168-41C4-AB76-36B9AF1A353E}" destId="{D54C3841-8E48-4184-9AFF-881F8F2C7804}" srcOrd="1" destOrd="0" presId="urn:microsoft.com/office/officeart/2005/8/layout/hList1"/>
    <dgm:cxn modelId="{BB3DC608-E2F0-41DD-A2EC-57C2E36A6CF9}" type="presParOf" srcId="{A3A77683-72D8-41E2-85FD-93BC7F246CF4}" destId="{EE717817-022A-42E4-967A-C24ED75B15E2}" srcOrd="1" destOrd="0" presId="urn:microsoft.com/office/officeart/2005/8/layout/hList1"/>
    <dgm:cxn modelId="{44887AE3-84CB-4950-A622-11281A48128F}" type="presParOf" srcId="{A3A77683-72D8-41E2-85FD-93BC7F246CF4}" destId="{6E2AE376-ABEA-443B-9D45-F20EA521CE67}" srcOrd="2" destOrd="0" presId="urn:microsoft.com/office/officeart/2005/8/layout/hList1"/>
    <dgm:cxn modelId="{C7B17C91-11F5-47FA-8AF7-DD64F04EA7D9}" type="presParOf" srcId="{6E2AE376-ABEA-443B-9D45-F20EA521CE67}" destId="{036C0E15-6718-45D4-8C58-4897A824DBF7}" srcOrd="0" destOrd="0" presId="urn:microsoft.com/office/officeart/2005/8/layout/hList1"/>
    <dgm:cxn modelId="{2F88F77E-D9D8-41D5-ABCC-5344687E878F}" type="presParOf" srcId="{6E2AE376-ABEA-443B-9D45-F20EA521CE67}" destId="{DF4391E9-57E3-4E5E-AFF7-99E263708FCB}" srcOrd="1" destOrd="0" presId="urn:microsoft.com/office/officeart/2005/8/layout/hList1"/>
    <dgm:cxn modelId="{62BE1B86-4E78-4069-B433-7F1368C84497}" type="presParOf" srcId="{A3A77683-72D8-41E2-85FD-93BC7F246CF4}" destId="{9C95385F-8D92-42A4-8AF1-25C72840CCDD}" srcOrd="3" destOrd="0" presId="urn:microsoft.com/office/officeart/2005/8/layout/hList1"/>
    <dgm:cxn modelId="{BB88B4F8-2574-4651-837C-602B76A7FC2D}" type="presParOf" srcId="{A3A77683-72D8-41E2-85FD-93BC7F246CF4}" destId="{395FBE7D-B976-4FBE-861E-17BDB136E6C0}" srcOrd="4" destOrd="0" presId="urn:microsoft.com/office/officeart/2005/8/layout/hList1"/>
    <dgm:cxn modelId="{12709EE4-D675-45CC-B041-B9FB78379A0A}" type="presParOf" srcId="{395FBE7D-B976-4FBE-861E-17BDB136E6C0}" destId="{DD5DAA4D-D152-425E-9EDF-12C87AF9361B}" srcOrd="0" destOrd="0" presId="urn:microsoft.com/office/officeart/2005/8/layout/hList1"/>
    <dgm:cxn modelId="{A6124C45-B5C9-436D-B2C8-67794CE3A1F8}" type="presParOf" srcId="{395FBE7D-B976-4FBE-861E-17BDB136E6C0}" destId="{D091759A-B76A-45B8-A1A5-A301182BCBD7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CFC0BAA-DBCE-4868-B2C6-982E8C5E6F03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9AA7DA78-87AC-4C26-97B9-8335C20A6373}">
      <dgm:prSet custT="1"/>
      <dgm:spPr/>
      <dgm:t>
        <a:bodyPr/>
        <a:lstStyle/>
        <a:p>
          <a:pPr rtl="0"/>
          <a:r>
            <a:rPr lang="en-IN" sz="1800" b="0" i="0" baseline="0" dirty="0" smtClean="0"/>
            <a:t>Building Digital Ecosystem</a:t>
          </a:r>
          <a:endParaRPr lang="en-IN" sz="1800" dirty="0"/>
        </a:p>
      </dgm:t>
    </dgm:pt>
    <dgm:pt modelId="{10B74EC6-6D86-44F8-B72B-28E2F89365B4}" type="parTrans" cxnId="{522674F9-2B4C-4F68-A8D2-779E6F7F18D0}">
      <dgm:prSet/>
      <dgm:spPr/>
      <dgm:t>
        <a:bodyPr/>
        <a:lstStyle/>
        <a:p>
          <a:endParaRPr lang="en-IN"/>
        </a:p>
      </dgm:t>
    </dgm:pt>
    <dgm:pt modelId="{259CB3D6-7803-4383-86BD-AA574C382DE7}" type="sibTrans" cxnId="{522674F9-2B4C-4F68-A8D2-779E6F7F18D0}">
      <dgm:prSet/>
      <dgm:spPr/>
      <dgm:t>
        <a:bodyPr/>
        <a:lstStyle/>
        <a:p>
          <a:endParaRPr lang="en-IN"/>
        </a:p>
      </dgm:t>
    </dgm:pt>
    <dgm:pt modelId="{6CBCD5EC-F3B4-4813-8629-B41DCD2470DA}">
      <dgm:prSet custT="1"/>
      <dgm:spPr/>
      <dgm:t>
        <a:bodyPr/>
        <a:lstStyle/>
        <a:p>
          <a:pPr rtl="0"/>
          <a:r>
            <a:rPr lang="en-IN" sz="1800" b="0" i="0" baseline="0" dirty="0" smtClean="0"/>
            <a:t>Standardization &amp; seamless exchange of data, accessible across touch-points &amp; ability to do analytics to provide better services</a:t>
          </a:r>
          <a:endParaRPr lang="en-IN" sz="1800" dirty="0"/>
        </a:p>
      </dgm:t>
    </dgm:pt>
    <dgm:pt modelId="{5AC7AEAA-BE59-445D-9AFF-2B7DC282AB59}" type="parTrans" cxnId="{1AA8E46E-0575-4F2D-A82D-26DCE42A1874}">
      <dgm:prSet/>
      <dgm:spPr/>
      <dgm:t>
        <a:bodyPr/>
        <a:lstStyle/>
        <a:p>
          <a:endParaRPr lang="en-IN"/>
        </a:p>
      </dgm:t>
    </dgm:pt>
    <dgm:pt modelId="{F61B1F7A-EA08-4066-A994-36ED7DD030C0}" type="sibTrans" cxnId="{1AA8E46E-0575-4F2D-A82D-26DCE42A1874}">
      <dgm:prSet/>
      <dgm:spPr/>
      <dgm:t>
        <a:bodyPr/>
        <a:lstStyle/>
        <a:p>
          <a:endParaRPr lang="en-IN"/>
        </a:p>
      </dgm:t>
    </dgm:pt>
    <dgm:pt modelId="{3DE238D2-1AC2-4394-B91F-8CD184C5909C}">
      <dgm:prSet custT="1"/>
      <dgm:spPr/>
      <dgm:t>
        <a:bodyPr/>
        <a:lstStyle/>
        <a:p>
          <a:pPr rtl="0"/>
          <a:r>
            <a:rPr lang="en-IN" sz="1800" b="0" i="0" baseline="0" dirty="0" smtClean="0"/>
            <a:t>Better Fraud management</a:t>
          </a:r>
          <a:endParaRPr lang="en-IN" sz="1800" dirty="0"/>
        </a:p>
      </dgm:t>
    </dgm:pt>
    <dgm:pt modelId="{BA168A73-4076-4279-B641-FBFE2F1B834C}" type="parTrans" cxnId="{56EFC447-F9CB-4A90-B2D6-2CB288B66F93}">
      <dgm:prSet/>
      <dgm:spPr/>
      <dgm:t>
        <a:bodyPr/>
        <a:lstStyle/>
        <a:p>
          <a:endParaRPr lang="en-IN"/>
        </a:p>
      </dgm:t>
    </dgm:pt>
    <dgm:pt modelId="{0FD0F5D3-3B3F-4079-9759-4FFAFCC5143D}" type="sibTrans" cxnId="{56EFC447-F9CB-4A90-B2D6-2CB288B66F93}">
      <dgm:prSet/>
      <dgm:spPr/>
      <dgm:t>
        <a:bodyPr/>
        <a:lstStyle/>
        <a:p>
          <a:endParaRPr lang="en-IN"/>
        </a:p>
      </dgm:t>
    </dgm:pt>
    <dgm:pt modelId="{45DE1366-B18C-4963-AD44-F5F59BBF3DC5}">
      <dgm:prSet custT="1"/>
      <dgm:spPr/>
      <dgm:t>
        <a:bodyPr/>
        <a:lstStyle/>
        <a:p>
          <a:pPr rtl="0"/>
          <a:r>
            <a:rPr lang="en-IN" sz="1800" b="0" i="0" baseline="0" dirty="0" smtClean="0"/>
            <a:t>Stronger control of data flow &amp; privacy controls </a:t>
          </a:r>
          <a:endParaRPr lang="en-IN" sz="1800" dirty="0"/>
        </a:p>
      </dgm:t>
    </dgm:pt>
    <dgm:pt modelId="{34016054-9D9A-439E-BE1C-E6A1E6ADF797}" type="parTrans" cxnId="{1BE835BC-324F-4B9B-80DE-E546D825641D}">
      <dgm:prSet/>
      <dgm:spPr/>
      <dgm:t>
        <a:bodyPr/>
        <a:lstStyle/>
        <a:p>
          <a:endParaRPr lang="en-IN"/>
        </a:p>
      </dgm:t>
    </dgm:pt>
    <dgm:pt modelId="{26C38138-5574-444C-A563-2B5B4EF9B26D}" type="sibTrans" cxnId="{1BE835BC-324F-4B9B-80DE-E546D825641D}">
      <dgm:prSet/>
      <dgm:spPr/>
      <dgm:t>
        <a:bodyPr/>
        <a:lstStyle/>
        <a:p>
          <a:endParaRPr lang="en-IN"/>
        </a:p>
      </dgm:t>
    </dgm:pt>
    <dgm:pt modelId="{6CDA780D-8F87-41D0-8AF1-6A70335E968C}">
      <dgm:prSet custT="1"/>
      <dgm:spPr/>
      <dgm:t>
        <a:bodyPr/>
        <a:lstStyle/>
        <a:p>
          <a:pPr rtl="0"/>
          <a:r>
            <a:rPr lang="en-IN" sz="1800" b="0" i="0" baseline="0" dirty="0" smtClean="0"/>
            <a:t>Shortest Software Development </a:t>
          </a:r>
          <a:r>
            <a:rPr lang="en-IN" sz="1800" b="0" i="0" baseline="0" dirty="0" err="1" smtClean="0"/>
            <a:t>LifeCycle</a:t>
          </a:r>
          <a:r>
            <a:rPr lang="en-IN" sz="1800" b="0" i="0" baseline="0" dirty="0" smtClean="0"/>
            <a:t> (SDLC)</a:t>
          </a:r>
          <a:endParaRPr lang="en-IN" sz="1800" dirty="0"/>
        </a:p>
      </dgm:t>
    </dgm:pt>
    <dgm:pt modelId="{BEFFA4A5-7A74-4A6C-8031-04904D5A1337}" type="parTrans" cxnId="{A8186A77-EF8B-4D02-9799-D941883B78F9}">
      <dgm:prSet/>
      <dgm:spPr/>
      <dgm:t>
        <a:bodyPr/>
        <a:lstStyle/>
        <a:p>
          <a:endParaRPr lang="en-IN"/>
        </a:p>
      </dgm:t>
    </dgm:pt>
    <dgm:pt modelId="{472AD388-9FDA-4575-8D6D-5F72F0F42603}" type="sibTrans" cxnId="{A8186A77-EF8B-4D02-9799-D941883B78F9}">
      <dgm:prSet/>
      <dgm:spPr/>
      <dgm:t>
        <a:bodyPr/>
        <a:lstStyle/>
        <a:p>
          <a:endParaRPr lang="en-IN"/>
        </a:p>
      </dgm:t>
    </dgm:pt>
    <dgm:pt modelId="{F4B1287D-4FA0-42CD-9E38-C7148A906C6A}">
      <dgm:prSet custT="1"/>
      <dgm:spPr/>
      <dgm:t>
        <a:bodyPr/>
        <a:lstStyle/>
        <a:p>
          <a:pPr rtl="0"/>
          <a:r>
            <a:rPr lang="en-IN" sz="1800" b="0" i="0" baseline="0" dirty="0" smtClean="0"/>
            <a:t>Rolled out 52 features in 120 days</a:t>
          </a:r>
          <a:endParaRPr lang="en-IN" sz="1800" dirty="0"/>
        </a:p>
      </dgm:t>
    </dgm:pt>
    <dgm:pt modelId="{C836CBFF-A1CE-41DA-B860-EB42A24CB43D}" type="parTrans" cxnId="{72A008AC-0881-402C-AFFA-14EDD4AC1B39}">
      <dgm:prSet/>
      <dgm:spPr/>
      <dgm:t>
        <a:bodyPr/>
        <a:lstStyle/>
        <a:p>
          <a:endParaRPr lang="en-IN"/>
        </a:p>
      </dgm:t>
    </dgm:pt>
    <dgm:pt modelId="{F17004D1-1AE0-4C5A-966D-A955CBE360CD}" type="sibTrans" cxnId="{72A008AC-0881-402C-AFFA-14EDD4AC1B39}">
      <dgm:prSet/>
      <dgm:spPr/>
      <dgm:t>
        <a:bodyPr/>
        <a:lstStyle/>
        <a:p>
          <a:endParaRPr lang="en-IN"/>
        </a:p>
      </dgm:t>
    </dgm:pt>
    <dgm:pt modelId="{96335214-E38D-4560-AA16-AEB47897672A}">
      <dgm:prSet custT="1"/>
      <dgm:spPr/>
      <dgm:t>
        <a:bodyPr/>
        <a:lstStyle/>
        <a:p>
          <a:pPr rtl="0"/>
          <a:r>
            <a:rPr lang="en-IN" sz="1800" b="0" i="0" baseline="0" dirty="0" smtClean="0"/>
            <a:t>Better customer service</a:t>
          </a:r>
          <a:endParaRPr lang="en-IN" sz="1800" dirty="0"/>
        </a:p>
      </dgm:t>
    </dgm:pt>
    <dgm:pt modelId="{6D4156FC-3B7F-42A9-A635-21D50E6E5AAC}" type="parTrans" cxnId="{11A13557-6556-493B-991D-D378D5CFD90B}">
      <dgm:prSet/>
      <dgm:spPr/>
      <dgm:t>
        <a:bodyPr/>
        <a:lstStyle/>
        <a:p>
          <a:endParaRPr lang="en-IN"/>
        </a:p>
      </dgm:t>
    </dgm:pt>
    <dgm:pt modelId="{5D7E9F51-1976-40E2-A5DB-672B96FAC43B}" type="sibTrans" cxnId="{11A13557-6556-493B-991D-D378D5CFD90B}">
      <dgm:prSet/>
      <dgm:spPr/>
      <dgm:t>
        <a:bodyPr/>
        <a:lstStyle/>
        <a:p>
          <a:endParaRPr lang="en-IN"/>
        </a:p>
      </dgm:t>
    </dgm:pt>
    <dgm:pt modelId="{B10C56EB-784A-4174-9C4D-09A160F214EB}">
      <dgm:prSet custT="1"/>
      <dgm:spPr/>
      <dgm:t>
        <a:bodyPr/>
        <a:lstStyle/>
        <a:p>
          <a:pPr rtl="0"/>
          <a:r>
            <a:rPr lang="en-IN" sz="1800" b="0" i="0" baseline="0" dirty="0" smtClean="0"/>
            <a:t>Policy servicing on-the-go</a:t>
          </a:r>
          <a:endParaRPr lang="en-IN" sz="1800" dirty="0"/>
        </a:p>
      </dgm:t>
    </dgm:pt>
    <dgm:pt modelId="{6B2CD688-D320-4C2E-9D18-0EC23A354E70}" type="parTrans" cxnId="{4F0B802B-1C20-43F1-A6B0-B3DD471D0585}">
      <dgm:prSet/>
      <dgm:spPr/>
      <dgm:t>
        <a:bodyPr/>
        <a:lstStyle/>
        <a:p>
          <a:endParaRPr lang="en-IN"/>
        </a:p>
      </dgm:t>
    </dgm:pt>
    <dgm:pt modelId="{98F8F998-9167-4EBF-81BF-6EF666A584EA}" type="sibTrans" cxnId="{4F0B802B-1C20-43F1-A6B0-B3DD471D0585}">
      <dgm:prSet/>
      <dgm:spPr/>
      <dgm:t>
        <a:bodyPr/>
        <a:lstStyle/>
        <a:p>
          <a:endParaRPr lang="en-IN"/>
        </a:p>
      </dgm:t>
    </dgm:pt>
    <dgm:pt modelId="{D90680E6-D786-46BF-8F37-AEA5F28D5B22}">
      <dgm:prSet custT="1"/>
      <dgm:spPr/>
      <dgm:t>
        <a:bodyPr/>
        <a:lstStyle/>
        <a:p>
          <a:pPr rtl="0"/>
          <a:r>
            <a:rPr lang="en-IN" sz="1800" b="0" i="0" baseline="0" dirty="0" smtClean="0"/>
            <a:t>Integrated partner network &amp; seamless flow of interaction</a:t>
          </a:r>
          <a:endParaRPr lang="en-IN" sz="1800" b="0" i="0" baseline="0" dirty="0"/>
        </a:p>
      </dgm:t>
    </dgm:pt>
    <dgm:pt modelId="{838FF1B8-A680-4C9D-AC7C-71B09CAB934A}" type="parTrans" cxnId="{B5F7D3F8-D937-41C4-9B40-08A89282CFDD}">
      <dgm:prSet/>
      <dgm:spPr/>
      <dgm:t>
        <a:bodyPr/>
        <a:lstStyle/>
        <a:p>
          <a:endParaRPr lang="en-IN"/>
        </a:p>
      </dgm:t>
    </dgm:pt>
    <dgm:pt modelId="{B50502CF-209F-4D47-BD43-5C24FC09CE13}" type="sibTrans" cxnId="{B5F7D3F8-D937-41C4-9B40-08A89282CFDD}">
      <dgm:prSet/>
      <dgm:spPr/>
      <dgm:t>
        <a:bodyPr/>
        <a:lstStyle/>
        <a:p>
          <a:endParaRPr lang="en-IN"/>
        </a:p>
      </dgm:t>
    </dgm:pt>
    <dgm:pt modelId="{E9DF8EA9-7F42-4580-A71C-499792BC6394}" type="pres">
      <dgm:prSet presAssocID="{2CFC0BAA-DBCE-4868-B2C6-982E8C5E6F03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2333DE89-15A4-4EFD-A2B9-9714CAF15B77}" type="pres">
      <dgm:prSet presAssocID="{9AA7DA78-87AC-4C26-97B9-8335C20A6373}" presName="linNode" presStyleCnt="0"/>
      <dgm:spPr/>
    </dgm:pt>
    <dgm:pt modelId="{395D9C55-06B5-421B-B31C-2F447EC9A01B}" type="pres">
      <dgm:prSet presAssocID="{9AA7DA78-87AC-4C26-97B9-8335C20A6373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2A2E3F2B-5415-48D7-8994-93626230E2CD}" type="pres">
      <dgm:prSet presAssocID="{9AA7DA78-87AC-4C26-97B9-8335C20A6373}" presName="descendantText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E74FF067-C3DA-480F-A195-79208F4B1310}" type="pres">
      <dgm:prSet presAssocID="{259CB3D6-7803-4383-86BD-AA574C382DE7}" presName="sp" presStyleCnt="0"/>
      <dgm:spPr/>
    </dgm:pt>
    <dgm:pt modelId="{8C8E3D53-0B77-4220-806F-2D758D718150}" type="pres">
      <dgm:prSet presAssocID="{3DE238D2-1AC2-4394-B91F-8CD184C5909C}" presName="linNode" presStyleCnt="0"/>
      <dgm:spPr/>
    </dgm:pt>
    <dgm:pt modelId="{C763D688-CCCD-47DA-A41B-027566422C7E}" type="pres">
      <dgm:prSet presAssocID="{3DE238D2-1AC2-4394-B91F-8CD184C5909C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BB5D6EDD-2C87-41FD-8BF7-0136D3D29498}" type="pres">
      <dgm:prSet presAssocID="{3DE238D2-1AC2-4394-B91F-8CD184C5909C}" presName="descendantText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2A24D348-D574-400D-AE0B-6F3CC09F1735}" type="pres">
      <dgm:prSet presAssocID="{0FD0F5D3-3B3F-4079-9759-4FFAFCC5143D}" presName="sp" presStyleCnt="0"/>
      <dgm:spPr/>
    </dgm:pt>
    <dgm:pt modelId="{3D2C77FD-D28B-4881-BF9E-EC9035FE4218}" type="pres">
      <dgm:prSet presAssocID="{6CDA780D-8F87-41D0-8AF1-6A70335E968C}" presName="linNode" presStyleCnt="0"/>
      <dgm:spPr/>
    </dgm:pt>
    <dgm:pt modelId="{D05DFB0C-76F3-4C42-ACDA-5DE73B4BE6EA}" type="pres">
      <dgm:prSet presAssocID="{6CDA780D-8F87-41D0-8AF1-6A70335E968C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BA7D0B98-9786-4A1D-9E8C-4439702FF7E3}" type="pres">
      <dgm:prSet presAssocID="{6CDA780D-8F87-41D0-8AF1-6A70335E968C}" presName="descendantText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0C373DF-139A-4AF1-89D6-B9047004053B}" type="pres">
      <dgm:prSet presAssocID="{472AD388-9FDA-4575-8D6D-5F72F0F42603}" presName="sp" presStyleCnt="0"/>
      <dgm:spPr/>
    </dgm:pt>
    <dgm:pt modelId="{0B16262E-69C7-405F-ABF0-AE5258540315}" type="pres">
      <dgm:prSet presAssocID="{96335214-E38D-4560-AA16-AEB47897672A}" presName="linNode" presStyleCnt="0"/>
      <dgm:spPr/>
    </dgm:pt>
    <dgm:pt modelId="{35ACEEB6-25D2-4630-9A6A-78B3ADFC2CE8}" type="pres">
      <dgm:prSet presAssocID="{96335214-E38D-4560-AA16-AEB47897672A}" presName="parentText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0362448E-8615-48D0-9A7D-52CE9913AE98}" type="pres">
      <dgm:prSet presAssocID="{96335214-E38D-4560-AA16-AEB47897672A}" presName="descendantText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7E20FEE9-8221-4A76-9136-16CC7F0252C6}" type="presOf" srcId="{F4B1287D-4FA0-42CD-9E38-C7148A906C6A}" destId="{BA7D0B98-9786-4A1D-9E8C-4439702FF7E3}" srcOrd="0" destOrd="0" presId="urn:microsoft.com/office/officeart/2005/8/layout/vList5"/>
    <dgm:cxn modelId="{3B330318-2EAE-47DF-AC7B-1CA6887E9225}" type="presOf" srcId="{3DE238D2-1AC2-4394-B91F-8CD184C5909C}" destId="{C763D688-CCCD-47DA-A41B-027566422C7E}" srcOrd="0" destOrd="0" presId="urn:microsoft.com/office/officeart/2005/8/layout/vList5"/>
    <dgm:cxn modelId="{B5F7D3F8-D937-41C4-9B40-08A89282CFDD}" srcId="{96335214-E38D-4560-AA16-AEB47897672A}" destId="{D90680E6-D786-46BF-8F37-AEA5F28D5B22}" srcOrd="1" destOrd="0" parTransId="{838FF1B8-A680-4C9D-AC7C-71B09CAB934A}" sibTransId="{B50502CF-209F-4D47-BD43-5C24FC09CE13}"/>
    <dgm:cxn modelId="{72A008AC-0881-402C-AFFA-14EDD4AC1B39}" srcId="{6CDA780D-8F87-41D0-8AF1-6A70335E968C}" destId="{F4B1287D-4FA0-42CD-9E38-C7148A906C6A}" srcOrd="0" destOrd="0" parTransId="{C836CBFF-A1CE-41DA-B860-EB42A24CB43D}" sibTransId="{F17004D1-1AE0-4C5A-966D-A955CBE360CD}"/>
    <dgm:cxn modelId="{A2245502-8B3D-42F6-8045-BEF287500DBE}" type="presOf" srcId="{6CBCD5EC-F3B4-4813-8629-B41DCD2470DA}" destId="{2A2E3F2B-5415-48D7-8994-93626230E2CD}" srcOrd="0" destOrd="0" presId="urn:microsoft.com/office/officeart/2005/8/layout/vList5"/>
    <dgm:cxn modelId="{10C97A8D-10EB-4E32-9842-A1A9ECF51940}" type="presOf" srcId="{45DE1366-B18C-4963-AD44-F5F59BBF3DC5}" destId="{BB5D6EDD-2C87-41FD-8BF7-0136D3D29498}" srcOrd="0" destOrd="0" presId="urn:microsoft.com/office/officeart/2005/8/layout/vList5"/>
    <dgm:cxn modelId="{C59FC2E2-FFC3-4868-B2E9-C36C95F9EB47}" type="presOf" srcId="{6CDA780D-8F87-41D0-8AF1-6A70335E968C}" destId="{D05DFB0C-76F3-4C42-ACDA-5DE73B4BE6EA}" srcOrd="0" destOrd="0" presId="urn:microsoft.com/office/officeart/2005/8/layout/vList5"/>
    <dgm:cxn modelId="{4F0B802B-1C20-43F1-A6B0-B3DD471D0585}" srcId="{96335214-E38D-4560-AA16-AEB47897672A}" destId="{B10C56EB-784A-4174-9C4D-09A160F214EB}" srcOrd="0" destOrd="0" parTransId="{6B2CD688-D320-4C2E-9D18-0EC23A354E70}" sibTransId="{98F8F998-9167-4EBF-81BF-6EF666A584EA}"/>
    <dgm:cxn modelId="{11A13557-6556-493B-991D-D378D5CFD90B}" srcId="{2CFC0BAA-DBCE-4868-B2C6-982E8C5E6F03}" destId="{96335214-E38D-4560-AA16-AEB47897672A}" srcOrd="3" destOrd="0" parTransId="{6D4156FC-3B7F-42A9-A635-21D50E6E5AAC}" sibTransId="{5D7E9F51-1976-40E2-A5DB-672B96FAC43B}"/>
    <dgm:cxn modelId="{20407B5E-718F-4163-8D79-1C0F1ECEC2C4}" type="presOf" srcId="{B10C56EB-784A-4174-9C4D-09A160F214EB}" destId="{0362448E-8615-48D0-9A7D-52CE9913AE98}" srcOrd="0" destOrd="0" presId="urn:microsoft.com/office/officeart/2005/8/layout/vList5"/>
    <dgm:cxn modelId="{1BE835BC-324F-4B9B-80DE-E546D825641D}" srcId="{3DE238D2-1AC2-4394-B91F-8CD184C5909C}" destId="{45DE1366-B18C-4963-AD44-F5F59BBF3DC5}" srcOrd="0" destOrd="0" parTransId="{34016054-9D9A-439E-BE1C-E6A1E6ADF797}" sibTransId="{26C38138-5574-444C-A563-2B5B4EF9B26D}"/>
    <dgm:cxn modelId="{FCEADBD6-4709-42B6-B271-695E264514DC}" type="presOf" srcId="{96335214-E38D-4560-AA16-AEB47897672A}" destId="{35ACEEB6-25D2-4630-9A6A-78B3ADFC2CE8}" srcOrd="0" destOrd="0" presId="urn:microsoft.com/office/officeart/2005/8/layout/vList5"/>
    <dgm:cxn modelId="{522674F9-2B4C-4F68-A8D2-779E6F7F18D0}" srcId="{2CFC0BAA-DBCE-4868-B2C6-982E8C5E6F03}" destId="{9AA7DA78-87AC-4C26-97B9-8335C20A6373}" srcOrd="0" destOrd="0" parTransId="{10B74EC6-6D86-44F8-B72B-28E2F89365B4}" sibTransId="{259CB3D6-7803-4383-86BD-AA574C382DE7}"/>
    <dgm:cxn modelId="{236B652A-9D68-4EC1-AAAB-D618AF90A3A9}" type="presOf" srcId="{D90680E6-D786-46BF-8F37-AEA5F28D5B22}" destId="{0362448E-8615-48D0-9A7D-52CE9913AE98}" srcOrd="0" destOrd="1" presId="urn:microsoft.com/office/officeart/2005/8/layout/vList5"/>
    <dgm:cxn modelId="{1AA8E46E-0575-4F2D-A82D-26DCE42A1874}" srcId="{9AA7DA78-87AC-4C26-97B9-8335C20A6373}" destId="{6CBCD5EC-F3B4-4813-8629-B41DCD2470DA}" srcOrd="0" destOrd="0" parTransId="{5AC7AEAA-BE59-445D-9AFF-2B7DC282AB59}" sibTransId="{F61B1F7A-EA08-4066-A994-36ED7DD030C0}"/>
    <dgm:cxn modelId="{56EFC447-F9CB-4A90-B2D6-2CB288B66F93}" srcId="{2CFC0BAA-DBCE-4868-B2C6-982E8C5E6F03}" destId="{3DE238D2-1AC2-4394-B91F-8CD184C5909C}" srcOrd="1" destOrd="0" parTransId="{BA168A73-4076-4279-B641-FBFE2F1B834C}" sibTransId="{0FD0F5D3-3B3F-4079-9759-4FFAFCC5143D}"/>
    <dgm:cxn modelId="{A8186A77-EF8B-4D02-9799-D941883B78F9}" srcId="{2CFC0BAA-DBCE-4868-B2C6-982E8C5E6F03}" destId="{6CDA780D-8F87-41D0-8AF1-6A70335E968C}" srcOrd="2" destOrd="0" parTransId="{BEFFA4A5-7A74-4A6C-8031-04904D5A1337}" sibTransId="{472AD388-9FDA-4575-8D6D-5F72F0F42603}"/>
    <dgm:cxn modelId="{B5EC73AD-60B8-4E39-B00A-E692632987BD}" type="presOf" srcId="{2CFC0BAA-DBCE-4868-B2C6-982E8C5E6F03}" destId="{E9DF8EA9-7F42-4580-A71C-499792BC6394}" srcOrd="0" destOrd="0" presId="urn:microsoft.com/office/officeart/2005/8/layout/vList5"/>
    <dgm:cxn modelId="{52123F40-6BA5-498E-A65D-D0A720FB00ED}" type="presOf" srcId="{9AA7DA78-87AC-4C26-97B9-8335C20A6373}" destId="{395D9C55-06B5-421B-B31C-2F447EC9A01B}" srcOrd="0" destOrd="0" presId="urn:microsoft.com/office/officeart/2005/8/layout/vList5"/>
    <dgm:cxn modelId="{EB1A71BA-EB74-4BF2-A16A-13C7BC5DA511}" type="presParOf" srcId="{E9DF8EA9-7F42-4580-A71C-499792BC6394}" destId="{2333DE89-15A4-4EFD-A2B9-9714CAF15B77}" srcOrd="0" destOrd="0" presId="urn:microsoft.com/office/officeart/2005/8/layout/vList5"/>
    <dgm:cxn modelId="{406FB40D-E846-45E1-A8AE-79BE9C1DAB47}" type="presParOf" srcId="{2333DE89-15A4-4EFD-A2B9-9714CAF15B77}" destId="{395D9C55-06B5-421B-B31C-2F447EC9A01B}" srcOrd="0" destOrd="0" presId="urn:microsoft.com/office/officeart/2005/8/layout/vList5"/>
    <dgm:cxn modelId="{C0C63871-2394-4B07-9758-BD875D406385}" type="presParOf" srcId="{2333DE89-15A4-4EFD-A2B9-9714CAF15B77}" destId="{2A2E3F2B-5415-48D7-8994-93626230E2CD}" srcOrd="1" destOrd="0" presId="urn:microsoft.com/office/officeart/2005/8/layout/vList5"/>
    <dgm:cxn modelId="{2416CDF6-C026-494D-8D80-14A088F6AAA4}" type="presParOf" srcId="{E9DF8EA9-7F42-4580-A71C-499792BC6394}" destId="{E74FF067-C3DA-480F-A195-79208F4B1310}" srcOrd="1" destOrd="0" presId="urn:microsoft.com/office/officeart/2005/8/layout/vList5"/>
    <dgm:cxn modelId="{1911C14A-21B5-44ED-89C7-3E8D052DCE82}" type="presParOf" srcId="{E9DF8EA9-7F42-4580-A71C-499792BC6394}" destId="{8C8E3D53-0B77-4220-806F-2D758D718150}" srcOrd="2" destOrd="0" presId="urn:microsoft.com/office/officeart/2005/8/layout/vList5"/>
    <dgm:cxn modelId="{5077B81F-2314-4A17-AA44-547D10186239}" type="presParOf" srcId="{8C8E3D53-0B77-4220-806F-2D758D718150}" destId="{C763D688-CCCD-47DA-A41B-027566422C7E}" srcOrd="0" destOrd="0" presId="urn:microsoft.com/office/officeart/2005/8/layout/vList5"/>
    <dgm:cxn modelId="{1D378126-48C5-47BB-BB3E-C753FCCF199C}" type="presParOf" srcId="{8C8E3D53-0B77-4220-806F-2D758D718150}" destId="{BB5D6EDD-2C87-41FD-8BF7-0136D3D29498}" srcOrd="1" destOrd="0" presId="urn:microsoft.com/office/officeart/2005/8/layout/vList5"/>
    <dgm:cxn modelId="{06A314F0-EFC9-4346-B78C-DC02E8FAE7F1}" type="presParOf" srcId="{E9DF8EA9-7F42-4580-A71C-499792BC6394}" destId="{2A24D348-D574-400D-AE0B-6F3CC09F1735}" srcOrd="3" destOrd="0" presId="urn:microsoft.com/office/officeart/2005/8/layout/vList5"/>
    <dgm:cxn modelId="{A76735CA-5311-4005-8AD5-29BE36706961}" type="presParOf" srcId="{E9DF8EA9-7F42-4580-A71C-499792BC6394}" destId="{3D2C77FD-D28B-4881-BF9E-EC9035FE4218}" srcOrd="4" destOrd="0" presId="urn:microsoft.com/office/officeart/2005/8/layout/vList5"/>
    <dgm:cxn modelId="{CAB59185-D386-49EB-AF46-909A693DF4A6}" type="presParOf" srcId="{3D2C77FD-D28B-4881-BF9E-EC9035FE4218}" destId="{D05DFB0C-76F3-4C42-ACDA-5DE73B4BE6EA}" srcOrd="0" destOrd="0" presId="urn:microsoft.com/office/officeart/2005/8/layout/vList5"/>
    <dgm:cxn modelId="{B35CADD9-CBEE-4FDC-BB3E-43D13A432398}" type="presParOf" srcId="{3D2C77FD-D28B-4881-BF9E-EC9035FE4218}" destId="{BA7D0B98-9786-4A1D-9E8C-4439702FF7E3}" srcOrd="1" destOrd="0" presId="urn:microsoft.com/office/officeart/2005/8/layout/vList5"/>
    <dgm:cxn modelId="{B0E07A2F-CD10-48EC-A0CC-AEF166330D7E}" type="presParOf" srcId="{E9DF8EA9-7F42-4580-A71C-499792BC6394}" destId="{60C373DF-139A-4AF1-89D6-B9047004053B}" srcOrd="5" destOrd="0" presId="urn:microsoft.com/office/officeart/2005/8/layout/vList5"/>
    <dgm:cxn modelId="{4996A05A-CE1E-4BCE-BFC0-9F512E8583BB}" type="presParOf" srcId="{E9DF8EA9-7F42-4580-A71C-499792BC6394}" destId="{0B16262E-69C7-405F-ABF0-AE5258540315}" srcOrd="6" destOrd="0" presId="urn:microsoft.com/office/officeart/2005/8/layout/vList5"/>
    <dgm:cxn modelId="{EC96A4A6-D8D8-465C-ADDE-808A3C29D8B2}" type="presParOf" srcId="{0B16262E-69C7-405F-ABF0-AE5258540315}" destId="{35ACEEB6-25D2-4630-9A6A-78B3ADFC2CE8}" srcOrd="0" destOrd="0" presId="urn:microsoft.com/office/officeart/2005/8/layout/vList5"/>
    <dgm:cxn modelId="{64CE0E6D-1D0D-4FA0-B80A-50EEE3CC861B}" type="presParOf" srcId="{0B16262E-69C7-405F-ABF0-AE5258540315}" destId="{0362448E-8615-48D0-9A7D-52CE9913AE98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7FDCF8B-9DD8-4446-B3ED-4927E0E3350B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B896B94F-EF51-48F7-B282-0CD52C706DD9}">
      <dgm:prSet custT="1"/>
      <dgm:spPr/>
      <dgm:t>
        <a:bodyPr/>
        <a:lstStyle/>
        <a:p>
          <a:pPr rtl="0"/>
          <a:r>
            <a:rPr lang="en-IN" sz="1600" b="0" i="0" baseline="0" dirty="0" smtClean="0"/>
            <a:t>Cross functional POCs</a:t>
          </a:r>
          <a:endParaRPr lang="en-IN" sz="1600" b="0" dirty="0"/>
        </a:p>
      </dgm:t>
    </dgm:pt>
    <dgm:pt modelId="{7C510999-3576-497A-860C-F85800A1905B}" type="parTrans" cxnId="{7EDE5CE2-C7CA-46AA-AA1E-FCF02FFB03D6}">
      <dgm:prSet/>
      <dgm:spPr/>
      <dgm:t>
        <a:bodyPr/>
        <a:lstStyle/>
        <a:p>
          <a:endParaRPr lang="en-IN"/>
        </a:p>
      </dgm:t>
    </dgm:pt>
    <dgm:pt modelId="{A30B23F6-76A2-4927-966B-C5165C96AC3C}" type="sibTrans" cxnId="{7EDE5CE2-C7CA-46AA-AA1E-FCF02FFB03D6}">
      <dgm:prSet/>
      <dgm:spPr/>
      <dgm:t>
        <a:bodyPr/>
        <a:lstStyle/>
        <a:p>
          <a:endParaRPr lang="en-IN"/>
        </a:p>
      </dgm:t>
    </dgm:pt>
    <dgm:pt modelId="{63913FAA-BE6B-4E64-B0CC-5CB10FA889C5}">
      <dgm:prSet custT="1"/>
      <dgm:spPr/>
      <dgm:t>
        <a:bodyPr/>
        <a:lstStyle/>
        <a:p>
          <a:pPr rtl="0"/>
          <a:r>
            <a:rPr lang="en-IN" sz="1600" b="0" i="0" baseline="0" dirty="0" smtClean="0"/>
            <a:t>Business owner, Product owner &amp; Technology owner defined for each feature thus, enabling parallel feature development on the platform</a:t>
          </a:r>
          <a:endParaRPr lang="en-IN" sz="1600" b="0" i="0" baseline="0" dirty="0"/>
        </a:p>
      </dgm:t>
    </dgm:pt>
    <dgm:pt modelId="{B5964C86-FECF-4572-9627-7AA4D700E947}" type="parTrans" cxnId="{F74B5476-CC66-4F68-8260-2B5AFA2B16CE}">
      <dgm:prSet/>
      <dgm:spPr/>
      <dgm:t>
        <a:bodyPr/>
        <a:lstStyle/>
        <a:p>
          <a:endParaRPr lang="en-IN"/>
        </a:p>
      </dgm:t>
    </dgm:pt>
    <dgm:pt modelId="{EE0C46F4-AD3A-416F-A964-2ABEF9B58FBD}" type="sibTrans" cxnId="{F74B5476-CC66-4F68-8260-2B5AFA2B16CE}">
      <dgm:prSet/>
      <dgm:spPr/>
      <dgm:t>
        <a:bodyPr/>
        <a:lstStyle/>
        <a:p>
          <a:endParaRPr lang="en-IN"/>
        </a:p>
      </dgm:t>
    </dgm:pt>
    <dgm:pt modelId="{7599E0CC-D8F7-4E23-8A8D-944BBBFE487A}">
      <dgm:prSet custT="1"/>
      <dgm:spPr/>
      <dgm:t>
        <a:bodyPr/>
        <a:lstStyle/>
        <a:p>
          <a:pPr rtl="0"/>
          <a:r>
            <a:rPr lang="en-IN" sz="1600" b="0" i="0" baseline="0" dirty="0" smtClean="0"/>
            <a:t>Responsive Design across mediums</a:t>
          </a:r>
          <a:endParaRPr lang="en-IN" sz="1600" b="0" dirty="0"/>
        </a:p>
      </dgm:t>
    </dgm:pt>
    <dgm:pt modelId="{94E67D4E-F2E7-4C5C-BFAF-0A0E5E5844A5}" type="parTrans" cxnId="{66CACC9C-95A9-4616-A307-94C64B99DBDB}">
      <dgm:prSet/>
      <dgm:spPr/>
      <dgm:t>
        <a:bodyPr/>
        <a:lstStyle/>
        <a:p>
          <a:endParaRPr lang="en-IN"/>
        </a:p>
      </dgm:t>
    </dgm:pt>
    <dgm:pt modelId="{279FA2DE-9B05-485E-9E33-FCAD2F14A564}" type="sibTrans" cxnId="{66CACC9C-95A9-4616-A307-94C64B99DBDB}">
      <dgm:prSet/>
      <dgm:spPr/>
      <dgm:t>
        <a:bodyPr/>
        <a:lstStyle/>
        <a:p>
          <a:endParaRPr lang="en-IN"/>
        </a:p>
      </dgm:t>
    </dgm:pt>
    <dgm:pt modelId="{4EF78CF9-53DB-4627-BBDC-E7A171CA1ED0}">
      <dgm:prSet custT="1"/>
      <dgm:spPr/>
      <dgm:t>
        <a:bodyPr/>
        <a:lstStyle/>
        <a:p>
          <a:pPr rtl="0"/>
          <a:r>
            <a:rPr lang="en-IN" sz="1600" b="0" i="0" baseline="0" dirty="0" smtClean="0"/>
            <a:t>View app/website across various screen sizes without any breaks. This helps us to deal with  future scalability of devices and support our multi-device users of today.</a:t>
          </a:r>
          <a:endParaRPr lang="en-IN" sz="1600" b="0" dirty="0"/>
        </a:p>
      </dgm:t>
    </dgm:pt>
    <dgm:pt modelId="{79217847-94A8-4AE8-8659-C8B068F82756}" type="parTrans" cxnId="{055688AE-CCF5-4714-9735-468D3D8CC547}">
      <dgm:prSet/>
      <dgm:spPr/>
      <dgm:t>
        <a:bodyPr/>
        <a:lstStyle/>
        <a:p>
          <a:endParaRPr lang="en-IN"/>
        </a:p>
      </dgm:t>
    </dgm:pt>
    <dgm:pt modelId="{60805DFD-4AA7-4BBA-9997-E913ECA67032}" type="sibTrans" cxnId="{055688AE-CCF5-4714-9735-468D3D8CC547}">
      <dgm:prSet/>
      <dgm:spPr/>
      <dgm:t>
        <a:bodyPr/>
        <a:lstStyle/>
        <a:p>
          <a:endParaRPr lang="en-IN"/>
        </a:p>
      </dgm:t>
    </dgm:pt>
    <dgm:pt modelId="{4E94EDB7-C989-4E0F-8E72-51AB7653ECB9}">
      <dgm:prSet custT="1"/>
      <dgm:spPr/>
      <dgm:t>
        <a:bodyPr/>
        <a:lstStyle/>
        <a:p>
          <a:pPr rtl="0"/>
          <a:r>
            <a:rPr lang="en-IN" sz="1600" b="0" i="0" baseline="0" dirty="0" smtClean="0"/>
            <a:t>Dummy Policy testing of the platform</a:t>
          </a:r>
          <a:endParaRPr lang="en-IN" sz="1600" b="0" dirty="0"/>
        </a:p>
      </dgm:t>
    </dgm:pt>
    <dgm:pt modelId="{5C46D637-8732-4E27-B5A8-CD37A363B125}" type="parTrans" cxnId="{B5E7D0D4-F8CE-4E1C-BE8C-F5D85CABCCE4}">
      <dgm:prSet/>
      <dgm:spPr/>
      <dgm:t>
        <a:bodyPr/>
        <a:lstStyle/>
        <a:p>
          <a:endParaRPr lang="en-IN"/>
        </a:p>
      </dgm:t>
    </dgm:pt>
    <dgm:pt modelId="{3AA78C96-0D45-4021-9517-337BDF906688}" type="sibTrans" cxnId="{B5E7D0D4-F8CE-4E1C-BE8C-F5D85CABCCE4}">
      <dgm:prSet/>
      <dgm:spPr/>
      <dgm:t>
        <a:bodyPr/>
        <a:lstStyle/>
        <a:p>
          <a:endParaRPr lang="en-IN"/>
        </a:p>
      </dgm:t>
    </dgm:pt>
    <dgm:pt modelId="{DED51E20-17BC-468C-94E3-56D6AE1EAA40}">
      <dgm:prSet custT="1"/>
      <dgm:spPr/>
      <dgm:t>
        <a:bodyPr/>
        <a:lstStyle/>
        <a:p>
          <a:pPr rtl="0"/>
          <a:r>
            <a:rPr lang="en-IN" sz="1600" b="0" i="0" baseline="0" dirty="0" smtClean="0"/>
            <a:t>Made employees test functionality end-to-end before launch as a pilot user base</a:t>
          </a:r>
          <a:endParaRPr lang="en-IN" sz="1600" b="0" i="0" baseline="0" dirty="0"/>
        </a:p>
      </dgm:t>
    </dgm:pt>
    <dgm:pt modelId="{A0C9A000-A5AC-4CD8-AA99-660C6DF8B664}" type="parTrans" cxnId="{E314EEC7-D101-443D-AB1F-BE7020C1C5ED}">
      <dgm:prSet/>
      <dgm:spPr/>
      <dgm:t>
        <a:bodyPr/>
        <a:lstStyle/>
        <a:p>
          <a:endParaRPr lang="en-IN"/>
        </a:p>
      </dgm:t>
    </dgm:pt>
    <dgm:pt modelId="{2B66FCC6-9EEC-4087-9F38-843DCDB906F8}" type="sibTrans" cxnId="{E314EEC7-D101-443D-AB1F-BE7020C1C5ED}">
      <dgm:prSet/>
      <dgm:spPr/>
      <dgm:t>
        <a:bodyPr/>
        <a:lstStyle/>
        <a:p>
          <a:endParaRPr lang="en-IN"/>
        </a:p>
      </dgm:t>
    </dgm:pt>
    <dgm:pt modelId="{AA7900A1-936F-4793-AB96-07C352C3A021}">
      <dgm:prSet custT="1"/>
      <dgm:spPr/>
      <dgm:t>
        <a:bodyPr/>
        <a:lstStyle/>
        <a:p>
          <a:pPr rtl="0"/>
          <a:r>
            <a:rPr lang="en-IN" sz="1600" b="0" i="0" baseline="0" dirty="0" smtClean="0"/>
            <a:t>Testing wellness proposition using the employee base</a:t>
          </a:r>
          <a:endParaRPr lang="en-IN" sz="1600" b="0" dirty="0"/>
        </a:p>
      </dgm:t>
    </dgm:pt>
    <dgm:pt modelId="{520C7647-6FAA-4ECA-B6D2-6237663241F8}" type="parTrans" cxnId="{BBE6FB15-7584-49C3-ACE7-3A20D9B50EE0}">
      <dgm:prSet/>
      <dgm:spPr/>
      <dgm:t>
        <a:bodyPr/>
        <a:lstStyle/>
        <a:p>
          <a:endParaRPr lang="en-IN"/>
        </a:p>
      </dgm:t>
    </dgm:pt>
    <dgm:pt modelId="{986150D6-3D7D-4031-A32E-FA6717C17DA9}" type="sibTrans" cxnId="{BBE6FB15-7584-49C3-ACE7-3A20D9B50EE0}">
      <dgm:prSet/>
      <dgm:spPr/>
      <dgm:t>
        <a:bodyPr/>
        <a:lstStyle/>
        <a:p>
          <a:endParaRPr lang="en-IN"/>
        </a:p>
      </dgm:t>
    </dgm:pt>
    <dgm:pt modelId="{F30BBFBD-925F-43BB-94AC-B8E7DD46DA99}">
      <dgm:prSet custT="1"/>
      <dgm:spPr/>
      <dgm:t>
        <a:bodyPr/>
        <a:lstStyle/>
        <a:p>
          <a:pPr rtl="0"/>
          <a:r>
            <a:rPr lang="en-IN" sz="1600" b="0" i="0" baseline="0" dirty="0" smtClean="0"/>
            <a:t>Gave employees fitness bands &amp; cumulatively tracked activity data before going to market</a:t>
          </a:r>
          <a:endParaRPr lang="en-IN" sz="1600" b="0" dirty="0"/>
        </a:p>
      </dgm:t>
    </dgm:pt>
    <dgm:pt modelId="{55DAEA75-0D1B-4401-9F12-D2BD8A3A93F4}" type="parTrans" cxnId="{9582CEFE-51E1-407A-A69F-EB9C0C34E4FD}">
      <dgm:prSet/>
      <dgm:spPr/>
      <dgm:t>
        <a:bodyPr/>
        <a:lstStyle/>
        <a:p>
          <a:endParaRPr lang="en-IN"/>
        </a:p>
      </dgm:t>
    </dgm:pt>
    <dgm:pt modelId="{E1353FF9-DD70-4067-B15C-5D014C7F091F}" type="sibTrans" cxnId="{9582CEFE-51E1-407A-A69F-EB9C0C34E4FD}">
      <dgm:prSet/>
      <dgm:spPr/>
      <dgm:t>
        <a:bodyPr/>
        <a:lstStyle/>
        <a:p>
          <a:endParaRPr lang="en-IN"/>
        </a:p>
      </dgm:t>
    </dgm:pt>
    <dgm:pt modelId="{F6B8B413-B779-4D64-B53D-2CB888415FAE}">
      <dgm:prSet custT="1"/>
      <dgm:spPr/>
      <dgm:t>
        <a:bodyPr/>
        <a:lstStyle/>
        <a:p>
          <a:pPr rtl="0"/>
          <a:r>
            <a:rPr lang="en-IN" sz="1600" b="0" i="0" baseline="0" dirty="0" smtClean="0"/>
            <a:t>Customer Connects</a:t>
          </a:r>
          <a:endParaRPr lang="en-IN" sz="1600" b="0" dirty="0"/>
        </a:p>
      </dgm:t>
    </dgm:pt>
    <dgm:pt modelId="{8D3B9A53-F76D-4E37-8BAD-2A654F2F542C}" type="parTrans" cxnId="{CA90DDA9-9F65-4BBF-A4EC-EFB68BB70872}">
      <dgm:prSet/>
      <dgm:spPr/>
      <dgm:t>
        <a:bodyPr/>
        <a:lstStyle/>
        <a:p>
          <a:endParaRPr lang="en-IN"/>
        </a:p>
      </dgm:t>
    </dgm:pt>
    <dgm:pt modelId="{C7D34FC7-C2F8-4BCC-A420-B7833103D8A7}" type="sibTrans" cxnId="{CA90DDA9-9F65-4BBF-A4EC-EFB68BB70872}">
      <dgm:prSet/>
      <dgm:spPr/>
      <dgm:t>
        <a:bodyPr/>
        <a:lstStyle/>
        <a:p>
          <a:endParaRPr lang="en-IN"/>
        </a:p>
      </dgm:t>
    </dgm:pt>
    <dgm:pt modelId="{68FC41B4-BAF9-425A-9B77-02ABDC45D12F}">
      <dgm:prSet custT="1"/>
      <dgm:spPr/>
      <dgm:t>
        <a:bodyPr/>
        <a:lstStyle/>
        <a:p>
          <a:pPr rtl="0"/>
          <a:r>
            <a:rPr lang="en-IN" sz="1600" b="0" i="0" baseline="0" dirty="0" smtClean="0"/>
            <a:t>Spoke to customers using our app and got their feedback to later determine process improvements.  </a:t>
          </a:r>
          <a:endParaRPr lang="en-IN" sz="1600" b="0" i="0" baseline="0" dirty="0"/>
        </a:p>
      </dgm:t>
    </dgm:pt>
    <dgm:pt modelId="{D56700E8-EBD1-4DAD-A87C-7E3478D9244B}" type="parTrans" cxnId="{166BFAFC-8A75-4F7C-9328-10279485FD98}">
      <dgm:prSet/>
      <dgm:spPr/>
      <dgm:t>
        <a:bodyPr/>
        <a:lstStyle/>
        <a:p>
          <a:endParaRPr lang="en-IN"/>
        </a:p>
      </dgm:t>
    </dgm:pt>
    <dgm:pt modelId="{E20C5435-1272-4D95-8496-DC2FD23FEDFC}" type="sibTrans" cxnId="{166BFAFC-8A75-4F7C-9328-10279485FD98}">
      <dgm:prSet/>
      <dgm:spPr/>
      <dgm:t>
        <a:bodyPr/>
        <a:lstStyle/>
        <a:p>
          <a:endParaRPr lang="en-IN"/>
        </a:p>
      </dgm:t>
    </dgm:pt>
    <dgm:pt modelId="{484A6710-B89E-4E00-89BD-451D4BAB4F01}" type="pres">
      <dgm:prSet presAssocID="{17FDCF8B-9DD8-4446-B3ED-4927E0E3350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87AFF412-8775-4FA0-A9CB-CFE6865E666F}" type="pres">
      <dgm:prSet presAssocID="{B896B94F-EF51-48F7-B282-0CD52C706DD9}" presName="linNode" presStyleCnt="0"/>
      <dgm:spPr/>
    </dgm:pt>
    <dgm:pt modelId="{8027C2C0-1A1C-4463-9908-736102286148}" type="pres">
      <dgm:prSet presAssocID="{B896B94F-EF51-48F7-B282-0CD52C706DD9}" presName="parentText" presStyleLbl="node1" presStyleIdx="0" presStyleCnt="5" custScaleX="73249" custLinFactNeighborX="-5000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939B48E0-F2CC-4CD8-B16D-715931E238E7}" type="pres">
      <dgm:prSet presAssocID="{B896B94F-EF51-48F7-B282-0CD52C706DD9}" presName="descendantText" presStyleLbl="alignAccFollowNode1" presStyleIdx="0" presStyleCnt="5" custScaleX="11495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7BE9B5C-F6D2-4F2B-BCD6-C0B4B8387463}" type="pres">
      <dgm:prSet presAssocID="{A30B23F6-76A2-4927-966B-C5165C96AC3C}" presName="sp" presStyleCnt="0"/>
      <dgm:spPr/>
    </dgm:pt>
    <dgm:pt modelId="{9BA15E74-C661-4ACC-AC6D-53CD461FD255}" type="pres">
      <dgm:prSet presAssocID="{7599E0CC-D8F7-4E23-8A8D-944BBBFE487A}" presName="linNode" presStyleCnt="0"/>
      <dgm:spPr/>
    </dgm:pt>
    <dgm:pt modelId="{B71CD0EF-EC1D-4995-8C02-64CD487AD867}" type="pres">
      <dgm:prSet presAssocID="{7599E0CC-D8F7-4E23-8A8D-944BBBFE487A}" presName="parentText" presStyleLbl="node1" presStyleIdx="1" presStyleCnt="5" custScaleX="73249" custLinFactNeighborX="-5000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B2E4333-3793-476F-AF54-36840147F4DE}" type="pres">
      <dgm:prSet presAssocID="{7599E0CC-D8F7-4E23-8A8D-944BBBFE487A}" presName="descendantText" presStyleLbl="alignAccFollowNode1" presStyleIdx="1" presStyleCnt="5" custScaleX="11495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AC328E96-271B-4124-BA93-F526937C05AD}" type="pres">
      <dgm:prSet presAssocID="{279FA2DE-9B05-485E-9E33-FCAD2F14A564}" presName="sp" presStyleCnt="0"/>
      <dgm:spPr/>
    </dgm:pt>
    <dgm:pt modelId="{71EDEDA1-C6F8-4B95-8C31-3706A342E5E7}" type="pres">
      <dgm:prSet presAssocID="{4E94EDB7-C989-4E0F-8E72-51AB7653ECB9}" presName="linNode" presStyleCnt="0"/>
      <dgm:spPr/>
    </dgm:pt>
    <dgm:pt modelId="{319407A4-3EDB-4F9E-8CE4-38635E2C0D24}" type="pres">
      <dgm:prSet presAssocID="{4E94EDB7-C989-4E0F-8E72-51AB7653ECB9}" presName="parentText" presStyleLbl="node1" presStyleIdx="2" presStyleCnt="5" custScaleX="73249" custLinFactNeighborX="-5000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FB492567-2673-4614-83FF-2FB547E729C3}" type="pres">
      <dgm:prSet presAssocID="{4E94EDB7-C989-4E0F-8E72-51AB7653ECB9}" presName="descendantText" presStyleLbl="alignAccFollowNode1" presStyleIdx="2" presStyleCnt="5" custScaleX="11495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B6DD074-6220-483F-B5BE-E0E5432B029F}" type="pres">
      <dgm:prSet presAssocID="{3AA78C96-0D45-4021-9517-337BDF906688}" presName="sp" presStyleCnt="0"/>
      <dgm:spPr/>
    </dgm:pt>
    <dgm:pt modelId="{14227BC3-DDAE-4769-BF7A-50678DBE39A4}" type="pres">
      <dgm:prSet presAssocID="{AA7900A1-936F-4793-AB96-07C352C3A021}" presName="linNode" presStyleCnt="0"/>
      <dgm:spPr/>
    </dgm:pt>
    <dgm:pt modelId="{C4FCFEF0-6D82-4327-A541-A38F0DBBC17A}" type="pres">
      <dgm:prSet presAssocID="{AA7900A1-936F-4793-AB96-07C352C3A021}" presName="parentText" presStyleLbl="node1" presStyleIdx="3" presStyleCnt="5" custScaleX="73249" custLinFactNeighborX="-5000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B3977C78-E8D9-4B9F-9366-17BBFEF5BA33}" type="pres">
      <dgm:prSet presAssocID="{AA7900A1-936F-4793-AB96-07C352C3A021}" presName="descendantText" presStyleLbl="alignAccFollowNode1" presStyleIdx="3" presStyleCnt="5" custScaleX="11495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974D0B04-04B7-4944-AFC5-2CC739D6D550}" type="pres">
      <dgm:prSet presAssocID="{986150D6-3D7D-4031-A32E-FA6717C17DA9}" presName="sp" presStyleCnt="0"/>
      <dgm:spPr/>
    </dgm:pt>
    <dgm:pt modelId="{39EF447C-6DDD-403E-9FFC-19CD99C2CF2E}" type="pres">
      <dgm:prSet presAssocID="{F6B8B413-B779-4D64-B53D-2CB888415FAE}" presName="linNode" presStyleCnt="0"/>
      <dgm:spPr/>
    </dgm:pt>
    <dgm:pt modelId="{FF6AD231-0839-448F-8DB2-0250A7BAB615}" type="pres">
      <dgm:prSet presAssocID="{F6B8B413-B779-4D64-B53D-2CB888415FAE}" presName="parentText" presStyleLbl="node1" presStyleIdx="4" presStyleCnt="5" custScaleX="73249" custLinFactNeighborX="-5000">
        <dgm:presLayoutVars>
          <dgm:chMax val="1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4747DAE-97C9-4071-970F-C26AEDE5A79D}" type="pres">
      <dgm:prSet presAssocID="{F6B8B413-B779-4D64-B53D-2CB888415FAE}" presName="descendantText" presStyleLbl="alignAccFollowNode1" presStyleIdx="4" presStyleCnt="5" custScaleX="11495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055688AE-CCF5-4714-9735-468D3D8CC547}" srcId="{7599E0CC-D8F7-4E23-8A8D-944BBBFE487A}" destId="{4EF78CF9-53DB-4627-BBDC-E7A171CA1ED0}" srcOrd="0" destOrd="0" parTransId="{79217847-94A8-4AE8-8659-C8B068F82756}" sibTransId="{60805DFD-4AA7-4BBA-9997-E913ECA67032}"/>
    <dgm:cxn modelId="{66CACC9C-95A9-4616-A307-94C64B99DBDB}" srcId="{17FDCF8B-9DD8-4446-B3ED-4927E0E3350B}" destId="{7599E0CC-D8F7-4E23-8A8D-944BBBFE487A}" srcOrd="1" destOrd="0" parTransId="{94E67D4E-F2E7-4C5C-BFAF-0A0E5E5844A5}" sibTransId="{279FA2DE-9B05-485E-9E33-FCAD2F14A564}"/>
    <dgm:cxn modelId="{B4A676EF-F834-4274-A6C9-38DB17A95CA3}" type="presOf" srcId="{68FC41B4-BAF9-425A-9B77-02ABDC45D12F}" destId="{44747DAE-97C9-4071-970F-C26AEDE5A79D}" srcOrd="0" destOrd="0" presId="urn:microsoft.com/office/officeart/2005/8/layout/vList5"/>
    <dgm:cxn modelId="{5359D0F2-6C25-4400-AE7A-3D525108FD38}" type="presOf" srcId="{AA7900A1-936F-4793-AB96-07C352C3A021}" destId="{C4FCFEF0-6D82-4327-A541-A38F0DBBC17A}" srcOrd="0" destOrd="0" presId="urn:microsoft.com/office/officeart/2005/8/layout/vList5"/>
    <dgm:cxn modelId="{7EDE5CE2-C7CA-46AA-AA1E-FCF02FFB03D6}" srcId="{17FDCF8B-9DD8-4446-B3ED-4927E0E3350B}" destId="{B896B94F-EF51-48F7-B282-0CD52C706DD9}" srcOrd="0" destOrd="0" parTransId="{7C510999-3576-497A-860C-F85800A1905B}" sibTransId="{A30B23F6-76A2-4927-966B-C5165C96AC3C}"/>
    <dgm:cxn modelId="{701896B2-9D3C-4407-876D-69C8E6BDB281}" type="presOf" srcId="{63913FAA-BE6B-4E64-B0CC-5CB10FA889C5}" destId="{939B48E0-F2CC-4CD8-B16D-715931E238E7}" srcOrd="0" destOrd="0" presId="urn:microsoft.com/office/officeart/2005/8/layout/vList5"/>
    <dgm:cxn modelId="{B5E7D0D4-F8CE-4E1C-BE8C-F5D85CABCCE4}" srcId="{17FDCF8B-9DD8-4446-B3ED-4927E0E3350B}" destId="{4E94EDB7-C989-4E0F-8E72-51AB7653ECB9}" srcOrd="2" destOrd="0" parTransId="{5C46D637-8732-4E27-B5A8-CD37A363B125}" sibTransId="{3AA78C96-0D45-4021-9517-337BDF906688}"/>
    <dgm:cxn modelId="{069537FC-3F99-42BC-9333-AFC346476CC4}" type="presOf" srcId="{DED51E20-17BC-468C-94E3-56D6AE1EAA40}" destId="{FB492567-2673-4614-83FF-2FB547E729C3}" srcOrd="0" destOrd="0" presId="urn:microsoft.com/office/officeart/2005/8/layout/vList5"/>
    <dgm:cxn modelId="{F1FF0D2F-3FB3-4EC9-86FD-1750DA4CAE26}" type="presOf" srcId="{F6B8B413-B779-4D64-B53D-2CB888415FAE}" destId="{FF6AD231-0839-448F-8DB2-0250A7BAB615}" srcOrd="0" destOrd="0" presId="urn:microsoft.com/office/officeart/2005/8/layout/vList5"/>
    <dgm:cxn modelId="{487C2C95-45FB-475E-AEFE-2ABAA05E600D}" type="presOf" srcId="{4EF78CF9-53DB-4627-BBDC-E7A171CA1ED0}" destId="{3B2E4333-3793-476F-AF54-36840147F4DE}" srcOrd="0" destOrd="0" presId="urn:microsoft.com/office/officeart/2005/8/layout/vList5"/>
    <dgm:cxn modelId="{166BFAFC-8A75-4F7C-9328-10279485FD98}" srcId="{F6B8B413-B779-4D64-B53D-2CB888415FAE}" destId="{68FC41B4-BAF9-425A-9B77-02ABDC45D12F}" srcOrd="0" destOrd="0" parTransId="{D56700E8-EBD1-4DAD-A87C-7E3478D9244B}" sibTransId="{E20C5435-1272-4D95-8496-DC2FD23FEDFC}"/>
    <dgm:cxn modelId="{9582CEFE-51E1-407A-A69F-EB9C0C34E4FD}" srcId="{AA7900A1-936F-4793-AB96-07C352C3A021}" destId="{F30BBFBD-925F-43BB-94AC-B8E7DD46DA99}" srcOrd="0" destOrd="0" parTransId="{55DAEA75-0D1B-4401-9F12-D2BD8A3A93F4}" sibTransId="{E1353FF9-DD70-4067-B15C-5D014C7F091F}"/>
    <dgm:cxn modelId="{DBF2AF69-95D6-4D87-A523-5B86B029AA29}" type="presOf" srcId="{17FDCF8B-9DD8-4446-B3ED-4927E0E3350B}" destId="{484A6710-B89E-4E00-89BD-451D4BAB4F01}" srcOrd="0" destOrd="0" presId="urn:microsoft.com/office/officeart/2005/8/layout/vList5"/>
    <dgm:cxn modelId="{BBE6FB15-7584-49C3-ACE7-3A20D9B50EE0}" srcId="{17FDCF8B-9DD8-4446-B3ED-4927E0E3350B}" destId="{AA7900A1-936F-4793-AB96-07C352C3A021}" srcOrd="3" destOrd="0" parTransId="{520C7647-6FAA-4ECA-B6D2-6237663241F8}" sibTransId="{986150D6-3D7D-4031-A32E-FA6717C17DA9}"/>
    <dgm:cxn modelId="{CA90DDA9-9F65-4BBF-A4EC-EFB68BB70872}" srcId="{17FDCF8B-9DD8-4446-B3ED-4927E0E3350B}" destId="{F6B8B413-B779-4D64-B53D-2CB888415FAE}" srcOrd="4" destOrd="0" parTransId="{8D3B9A53-F76D-4E37-8BAD-2A654F2F542C}" sibTransId="{C7D34FC7-C2F8-4BCC-A420-B7833103D8A7}"/>
    <dgm:cxn modelId="{19BD1D6E-0E15-442E-8CBC-D2EE1ECEC5DA}" type="presOf" srcId="{B896B94F-EF51-48F7-B282-0CD52C706DD9}" destId="{8027C2C0-1A1C-4463-9908-736102286148}" srcOrd="0" destOrd="0" presId="urn:microsoft.com/office/officeart/2005/8/layout/vList5"/>
    <dgm:cxn modelId="{FFF90F6D-364E-429D-9638-D9488B5F441E}" type="presOf" srcId="{4E94EDB7-C989-4E0F-8E72-51AB7653ECB9}" destId="{319407A4-3EDB-4F9E-8CE4-38635E2C0D24}" srcOrd="0" destOrd="0" presId="urn:microsoft.com/office/officeart/2005/8/layout/vList5"/>
    <dgm:cxn modelId="{F74B5476-CC66-4F68-8260-2B5AFA2B16CE}" srcId="{B896B94F-EF51-48F7-B282-0CD52C706DD9}" destId="{63913FAA-BE6B-4E64-B0CC-5CB10FA889C5}" srcOrd="0" destOrd="0" parTransId="{B5964C86-FECF-4572-9627-7AA4D700E947}" sibTransId="{EE0C46F4-AD3A-416F-A964-2ABEF9B58FBD}"/>
    <dgm:cxn modelId="{07297BE9-A540-4E79-AD70-31A0357E7E82}" type="presOf" srcId="{7599E0CC-D8F7-4E23-8A8D-944BBBFE487A}" destId="{B71CD0EF-EC1D-4995-8C02-64CD487AD867}" srcOrd="0" destOrd="0" presId="urn:microsoft.com/office/officeart/2005/8/layout/vList5"/>
    <dgm:cxn modelId="{E314EEC7-D101-443D-AB1F-BE7020C1C5ED}" srcId="{4E94EDB7-C989-4E0F-8E72-51AB7653ECB9}" destId="{DED51E20-17BC-468C-94E3-56D6AE1EAA40}" srcOrd="0" destOrd="0" parTransId="{A0C9A000-A5AC-4CD8-AA99-660C6DF8B664}" sibTransId="{2B66FCC6-9EEC-4087-9F38-843DCDB906F8}"/>
    <dgm:cxn modelId="{8DBDD554-BD9F-46E9-8C55-19630C1F180D}" type="presOf" srcId="{F30BBFBD-925F-43BB-94AC-B8E7DD46DA99}" destId="{B3977C78-E8D9-4B9F-9366-17BBFEF5BA33}" srcOrd="0" destOrd="0" presId="urn:microsoft.com/office/officeart/2005/8/layout/vList5"/>
    <dgm:cxn modelId="{E9E1C5C1-E092-4713-941B-DCB1778230AC}" type="presParOf" srcId="{484A6710-B89E-4E00-89BD-451D4BAB4F01}" destId="{87AFF412-8775-4FA0-A9CB-CFE6865E666F}" srcOrd="0" destOrd="0" presId="urn:microsoft.com/office/officeart/2005/8/layout/vList5"/>
    <dgm:cxn modelId="{45BE81EB-2662-4234-808C-DF0CA0A0B46B}" type="presParOf" srcId="{87AFF412-8775-4FA0-A9CB-CFE6865E666F}" destId="{8027C2C0-1A1C-4463-9908-736102286148}" srcOrd="0" destOrd="0" presId="urn:microsoft.com/office/officeart/2005/8/layout/vList5"/>
    <dgm:cxn modelId="{EE7B472A-5EAA-4057-9464-36DD31C0133E}" type="presParOf" srcId="{87AFF412-8775-4FA0-A9CB-CFE6865E666F}" destId="{939B48E0-F2CC-4CD8-B16D-715931E238E7}" srcOrd="1" destOrd="0" presId="urn:microsoft.com/office/officeart/2005/8/layout/vList5"/>
    <dgm:cxn modelId="{F84F8514-7FBF-42C3-B970-327D659706CB}" type="presParOf" srcId="{484A6710-B89E-4E00-89BD-451D4BAB4F01}" destId="{D7BE9B5C-F6D2-4F2B-BCD6-C0B4B8387463}" srcOrd="1" destOrd="0" presId="urn:microsoft.com/office/officeart/2005/8/layout/vList5"/>
    <dgm:cxn modelId="{EEF84316-FE7B-4FF4-B68C-6770AE7E216C}" type="presParOf" srcId="{484A6710-B89E-4E00-89BD-451D4BAB4F01}" destId="{9BA15E74-C661-4ACC-AC6D-53CD461FD255}" srcOrd="2" destOrd="0" presId="urn:microsoft.com/office/officeart/2005/8/layout/vList5"/>
    <dgm:cxn modelId="{C7D900D7-E52F-498D-8A38-1A50E776A1A5}" type="presParOf" srcId="{9BA15E74-C661-4ACC-AC6D-53CD461FD255}" destId="{B71CD0EF-EC1D-4995-8C02-64CD487AD867}" srcOrd="0" destOrd="0" presId="urn:microsoft.com/office/officeart/2005/8/layout/vList5"/>
    <dgm:cxn modelId="{A320944D-2AE8-4AD4-A223-4D148DE7A91F}" type="presParOf" srcId="{9BA15E74-C661-4ACC-AC6D-53CD461FD255}" destId="{3B2E4333-3793-476F-AF54-36840147F4DE}" srcOrd="1" destOrd="0" presId="urn:microsoft.com/office/officeart/2005/8/layout/vList5"/>
    <dgm:cxn modelId="{E7B89529-4BF4-4B36-B80F-53B87D6DB08E}" type="presParOf" srcId="{484A6710-B89E-4E00-89BD-451D4BAB4F01}" destId="{AC328E96-271B-4124-BA93-F526937C05AD}" srcOrd="3" destOrd="0" presId="urn:microsoft.com/office/officeart/2005/8/layout/vList5"/>
    <dgm:cxn modelId="{F40CF719-AD43-4D4A-9DB0-806A05537CFD}" type="presParOf" srcId="{484A6710-B89E-4E00-89BD-451D4BAB4F01}" destId="{71EDEDA1-C6F8-4B95-8C31-3706A342E5E7}" srcOrd="4" destOrd="0" presId="urn:microsoft.com/office/officeart/2005/8/layout/vList5"/>
    <dgm:cxn modelId="{CC63F3FE-CF36-4C5F-B50F-AF7BEA2C855E}" type="presParOf" srcId="{71EDEDA1-C6F8-4B95-8C31-3706A342E5E7}" destId="{319407A4-3EDB-4F9E-8CE4-38635E2C0D24}" srcOrd="0" destOrd="0" presId="urn:microsoft.com/office/officeart/2005/8/layout/vList5"/>
    <dgm:cxn modelId="{2385FE5A-C97B-4A63-81F1-7E77C93AFBA6}" type="presParOf" srcId="{71EDEDA1-C6F8-4B95-8C31-3706A342E5E7}" destId="{FB492567-2673-4614-83FF-2FB547E729C3}" srcOrd="1" destOrd="0" presId="urn:microsoft.com/office/officeart/2005/8/layout/vList5"/>
    <dgm:cxn modelId="{BC411918-5489-4990-AE9B-5B69541E62AB}" type="presParOf" srcId="{484A6710-B89E-4E00-89BD-451D4BAB4F01}" destId="{3B6DD074-6220-483F-B5BE-E0E5432B029F}" srcOrd="5" destOrd="0" presId="urn:microsoft.com/office/officeart/2005/8/layout/vList5"/>
    <dgm:cxn modelId="{51F4AB7F-011B-450E-9B62-CD3AF2459DCF}" type="presParOf" srcId="{484A6710-B89E-4E00-89BD-451D4BAB4F01}" destId="{14227BC3-DDAE-4769-BF7A-50678DBE39A4}" srcOrd="6" destOrd="0" presId="urn:microsoft.com/office/officeart/2005/8/layout/vList5"/>
    <dgm:cxn modelId="{1A2A4058-19E3-48BD-8264-1E2AB6750543}" type="presParOf" srcId="{14227BC3-DDAE-4769-BF7A-50678DBE39A4}" destId="{C4FCFEF0-6D82-4327-A541-A38F0DBBC17A}" srcOrd="0" destOrd="0" presId="urn:microsoft.com/office/officeart/2005/8/layout/vList5"/>
    <dgm:cxn modelId="{559E47AE-BAE9-41A8-BEBD-E53D07D6C313}" type="presParOf" srcId="{14227BC3-DDAE-4769-BF7A-50678DBE39A4}" destId="{B3977C78-E8D9-4B9F-9366-17BBFEF5BA33}" srcOrd="1" destOrd="0" presId="urn:microsoft.com/office/officeart/2005/8/layout/vList5"/>
    <dgm:cxn modelId="{B97E2899-E767-4076-BCF5-1AC15FF68263}" type="presParOf" srcId="{484A6710-B89E-4E00-89BD-451D4BAB4F01}" destId="{974D0B04-04B7-4944-AFC5-2CC739D6D550}" srcOrd="7" destOrd="0" presId="urn:microsoft.com/office/officeart/2005/8/layout/vList5"/>
    <dgm:cxn modelId="{F63B42E3-EF34-49F7-8CB1-C4DBC15C486A}" type="presParOf" srcId="{484A6710-B89E-4E00-89BD-451D4BAB4F01}" destId="{39EF447C-6DDD-403E-9FFC-19CD99C2CF2E}" srcOrd="8" destOrd="0" presId="urn:microsoft.com/office/officeart/2005/8/layout/vList5"/>
    <dgm:cxn modelId="{6B9EFB9D-7854-4274-BCD9-979F4C882C81}" type="presParOf" srcId="{39EF447C-6DDD-403E-9FFC-19CD99C2CF2E}" destId="{FF6AD231-0839-448F-8DB2-0250A7BAB615}" srcOrd="0" destOrd="0" presId="urn:microsoft.com/office/officeart/2005/8/layout/vList5"/>
    <dgm:cxn modelId="{399DF546-4D17-44D5-A896-06798E2FF29F}" type="presParOf" srcId="{39EF447C-6DDD-403E-9FFC-19CD99C2CF2E}" destId="{44747DAE-97C9-4071-970F-C26AEDE5A79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F73D7B9-A494-4A0B-944B-550D501BA9D9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5E24104D-EC44-467C-9FF2-6FED7FDCE6B0}">
      <dgm:prSet custT="1"/>
      <dgm:spPr/>
      <dgm:t>
        <a:bodyPr/>
        <a:lstStyle/>
        <a:p>
          <a:pPr rtl="0"/>
          <a:r>
            <a:rPr lang="en-IN" sz="1800" b="0" i="0" baseline="0" dirty="0" smtClean="0"/>
            <a:t>Made On-time Business Launch possible</a:t>
          </a:r>
          <a:endParaRPr lang="en-IN" sz="1800" b="0" i="0" baseline="0" dirty="0"/>
        </a:p>
      </dgm:t>
    </dgm:pt>
    <dgm:pt modelId="{35F9B47D-73FE-4568-8BE8-CBDB2824A4D6}" type="parTrans" cxnId="{9A89B8F9-8651-4344-A79B-6E3BC2F60246}">
      <dgm:prSet/>
      <dgm:spPr/>
      <dgm:t>
        <a:bodyPr/>
        <a:lstStyle/>
        <a:p>
          <a:endParaRPr lang="en-IN" sz="1800"/>
        </a:p>
      </dgm:t>
    </dgm:pt>
    <dgm:pt modelId="{A9B3E2E7-9DF2-438E-B58C-AC7F37637C11}" type="sibTrans" cxnId="{9A89B8F9-8651-4344-A79B-6E3BC2F60246}">
      <dgm:prSet/>
      <dgm:spPr/>
      <dgm:t>
        <a:bodyPr/>
        <a:lstStyle/>
        <a:p>
          <a:endParaRPr lang="en-IN" sz="1800"/>
        </a:p>
      </dgm:t>
    </dgm:pt>
    <dgm:pt modelId="{0904A6EB-C8DD-4FE3-AB5D-0101B65FF7CF}">
      <dgm:prSet custT="1"/>
      <dgm:spPr/>
      <dgm:t>
        <a:bodyPr/>
        <a:lstStyle/>
        <a:p>
          <a:pPr rtl="0"/>
          <a:r>
            <a:rPr lang="en-IN" sz="1800" b="0" i="0" baseline="0" dirty="0" smtClean="0"/>
            <a:t>Negotiated better healthcare provider rates for customers </a:t>
          </a:r>
          <a:endParaRPr lang="en-IN" sz="1800" b="0" i="0" baseline="0" dirty="0"/>
        </a:p>
      </dgm:t>
    </dgm:pt>
    <dgm:pt modelId="{F290CA47-903C-4C8D-ACF5-0767BD0A522C}" type="parTrans" cxnId="{B1A6043A-4651-43C6-AA83-291268CA9D7A}">
      <dgm:prSet/>
      <dgm:spPr/>
      <dgm:t>
        <a:bodyPr/>
        <a:lstStyle/>
        <a:p>
          <a:endParaRPr lang="en-IN" sz="1800"/>
        </a:p>
      </dgm:t>
    </dgm:pt>
    <dgm:pt modelId="{B4AA0A32-47CE-4B35-BDE0-212F4C7FA560}" type="sibTrans" cxnId="{B1A6043A-4651-43C6-AA83-291268CA9D7A}">
      <dgm:prSet/>
      <dgm:spPr/>
      <dgm:t>
        <a:bodyPr/>
        <a:lstStyle/>
        <a:p>
          <a:endParaRPr lang="en-IN" sz="1800"/>
        </a:p>
      </dgm:t>
    </dgm:pt>
    <dgm:pt modelId="{196616F3-5557-45D6-A530-8776D387DEE4}">
      <dgm:prSet custT="1"/>
      <dgm:spPr/>
      <dgm:t>
        <a:bodyPr/>
        <a:lstStyle/>
        <a:p>
          <a:pPr rtl="0"/>
          <a:r>
            <a:rPr lang="en-IN" sz="1800" b="0" i="0" baseline="0" dirty="0" smtClean="0"/>
            <a:t>Reduction in Service Level TATs</a:t>
          </a:r>
          <a:endParaRPr lang="en-IN" sz="1800" dirty="0"/>
        </a:p>
      </dgm:t>
    </dgm:pt>
    <dgm:pt modelId="{D1464D0D-8764-4B1B-A0AA-D7E698C6228F}" type="parTrans" cxnId="{F486D7DD-3C84-4C5F-81E1-95215101B7C2}">
      <dgm:prSet/>
      <dgm:spPr/>
      <dgm:t>
        <a:bodyPr/>
        <a:lstStyle/>
        <a:p>
          <a:endParaRPr lang="en-IN" sz="1800"/>
        </a:p>
      </dgm:t>
    </dgm:pt>
    <dgm:pt modelId="{3C17682C-4035-4E42-993C-0F3F633D0DE9}" type="sibTrans" cxnId="{F486D7DD-3C84-4C5F-81E1-95215101B7C2}">
      <dgm:prSet/>
      <dgm:spPr/>
      <dgm:t>
        <a:bodyPr/>
        <a:lstStyle/>
        <a:p>
          <a:endParaRPr lang="en-IN" sz="1800"/>
        </a:p>
      </dgm:t>
    </dgm:pt>
    <dgm:pt modelId="{6638B0EC-D814-4661-8493-71AA0CD29FEC}">
      <dgm:prSet custT="1"/>
      <dgm:spPr/>
      <dgm:t>
        <a:bodyPr/>
        <a:lstStyle/>
        <a:p>
          <a:pPr rtl="0"/>
          <a:r>
            <a:rPr lang="en-IN" sz="1800" b="0" i="0" baseline="0" dirty="0" smtClean="0"/>
            <a:t>Real Time Engagement with Customer using fitness bands / beacons</a:t>
          </a:r>
          <a:endParaRPr lang="en-IN" sz="1800" b="0" i="0" baseline="0" dirty="0"/>
        </a:p>
      </dgm:t>
    </dgm:pt>
    <dgm:pt modelId="{CD513503-E09D-42D1-A04E-D25A5CA46290}" type="parTrans" cxnId="{E57B973D-7A13-495C-AD28-5BD7FD4089A5}">
      <dgm:prSet/>
      <dgm:spPr/>
      <dgm:t>
        <a:bodyPr/>
        <a:lstStyle/>
        <a:p>
          <a:endParaRPr lang="en-IN" sz="1800"/>
        </a:p>
      </dgm:t>
    </dgm:pt>
    <dgm:pt modelId="{5DE21C5B-1A09-48CB-B7BC-A44424FE0AFE}" type="sibTrans" cxnId="{E57B973D-7A13-495C-AD28-5BD7FD4089A5}">
      <dgm:prSet/>
      <dgm:spPr/>
      <dgm:t>
        <a:bodyPr/>
        <a:lstStyle/>
        <a:p>
          <a:endParaRPr lang="en-IN" sz="1800"/>
        </a:p>
      </dgm:t>
    </dgm:pt>
    <dgm:pt modelId="{D5A24D44-79C7-48B9-A095-C47D97D67777}">
      <dgm:prSet custT="1"/>
      <dgm:spPr/>
      <dgm:t>
        <a:bodyPr/>
        <a:lstStyle/>
        <a:p>
          <a:pPr rtl="0"/>
          <a:r>
            <a:rPr lang="en-IN" sz="1800" b="0" i="0" baseline="0" dirty="0" smtClean="0"/>
            <a:t>Structured Data &amp; system integration - enabled analytics &amp; less paper work</a:t>
          </a:r>
          <a:endParaRPr lang="en-IN" sz="1800" b="0" i="0" baseline="0" dirty="0"/>
        </a:p>
      </dgm:t>
    </dgm:pt>
    <dgm:pt modelId="{9D5C27CD-432E-4C01-9B0B-8CC3AF95BFF1}" type="parTrans" cxnId="{BF15563B-E3E7-4279-97F2-04C6EC29A08B}">
      <dgm:prSet/>
      <dgm:spPr/>
      <dgm:t>
        <a:bodyPr/>
        <a:lstStyle/>
        <a:p>
          <a:endParaRPr lang="en-IN" sz="1800"/>
        </a:p>
      </dgm:t>
    </dgm:pt>
    <dgm:pt modelId="{18C4FE63-4D66-4167-89D6-2D12441A0FB2}" type="sibTrans" cxnId="{BF15563B-E3E7-4279-97F2-04C6EC29A08B}">
      <dgm:prSet/>
      <dgm:spPr/>
      <dgm:t>
        <a:bodyPr/>
        <a:lstStyle/>
        <a:p>
          <a:endParaRPr lang="en-IN" sz="1800"/>
        </a:p>
      </dgm:t>
    </dgm:pt>
    <dgm:pt modelId="{B492A5FD-4AEA-4070-B22D-76A95E5E064D}">
      <dgm:prSet custT="1"/>
      <dgm:spPr/>
      <dgm:t>
        <a:bodyPr/>
        <a:lstStyle/>
        <a:p>
          <a:pPr rtl="0"/>
          <a:r>
            <a:rPr lang="en-IN" sz="1800" b="0" i="0" baseline="0" dirty="0" smtClean="0"/>
            <a:t>Extensive database of health and wellness services</a:t>
          </a:r>
          <a:endParaRPr lang="en-IN" sz="1800" b="0" i="0" baseline="0" dirty="0"/>
        </a:p>
      </dgm:t>
    </dgm:pt>
    <dgm:pt modelId="{B3842431-81D4-4622-9767-5A629998F653}" type="parTrans" cxnId="{41460A1E-D4FE-4ADC-A90D-02022140B375}">
      <dgm:prSet/>
      <dgm:spPr/>
      <dgm:t>
        <a:bodyPr/>
        <a:lstStyle/>
        <a:p>
          <a:endParaRPr lang="en-IN" sz="1800"/>
        </a:p>
      </dgm:t>
    </dgm:pt>
    <dgm:pt modelId="{70BBA0D1-91B5-40DA-9A0A-418FCA32893F}" type="sibTrans" cxnId="{41460A1E-D4FE-4ADC-A90D-02022140B375}">
      <dgm:prSet/>
      <dgm:spPr/>
      <dgm:t>
        <a:bodyPr/>
        <a:lstStyle/>
        <a:p>
          <a:endParaRPr lang="en-IN" sz="1800"/>
        </a:p>
      </dgm:t>
    </dgm:pt>
    <dgm:pt modelId="{47EB0D26-8696-4C86-A046-687B0A0EE6ED}">
      <dgm:prSet custT="1"/>
      <dgm:spPr/>
      <dgm:t>
        <a:bodyPr/>
        <a:lstStyle/>
        <a:p>
          <a:pPr rtl="0"/>
          <a:r>
            <a:rPr lang="en-IN" sz="1800" b="0" i="0" baseline="0" dirty="0" smtClean="0"/>
            <a:t>Customer’s medical reports available real time 24x7 on the go</a:t>
          </a:r>
          <a:endParaRPr lang="en-IN" sz="1800" dirty="0"/>
        </a:p>
      </dgm:t>
    </dgm:pt>
    <dgm:pt modelId="{222B8864-F1C8-49BE-8CD4-9E509A8B64FA}" type="parTrans" cxnId="{076BACE6-5EEC-4CD9-9AF1-53EC51414CC4}">
      <dgm:prSet/>
      <dgm:spPr/>
      <dgm:t>
        <a:bodyPr/>
        <a:lstStyle/>
        <a:p>
          <a:endParaRPr lang="en-IN" sz="1800"/>
        </a:p>
      </dgm:t>
    </dgm:pt>
    <dgm:pt modelId="{16A9A69C-EAA5-4AB5-8B22-466B167CBB40}" type="sibTrans" cxnId="{076BACE6-5EEC-4CD9-9AF1-53EC51414CC4}">
      <dgm:prSet/>
      <dgm:spPr/>
      <dgm:t>
        <a:bodyPr/>
        <a:lstStyle/>
        <a:p>
          <a:endParaRPr lang="en-IN" sz="1800"/>
        </a:p>
      </dgm:t>
    </dgm:pt>
    <dgm:pt modelId="{D03F272C-0C7B-412E-895D-ED7B71D6EE26}">
      <dgm:prSet custT="1"/>
      <dgm:spPr/>
      <dgm:t>
        <a:bodyPr/>
        <a:lstStyle/>
        <a:p>
          <a:pPr rtl="0"/>
          <a:r>
            <a:rPr lang="en-IN" sz="1800" b="0" i="0" baseline="0" dirty="0" smtClean="0"/>
            <a:t>Successfully motivated users to stay healthy &amp; achieve goals  through extensive tracking</a:t>
          </a:r>
          <a:endParaRPr lang="en-IN" sz="1800" b="0" i="0" baseline="0" dirty="0"/>
        </a:p>
      </dgm:t>
    </dgm:pt>
    <dgm:pt modelId="{E91817B0-8BE6-4AD0-9D50-77082D50DD86}" type="parTrans" cxnId="{DC1EC08A-B53F-4963-B637-A63216882E67}">
      <dgm:prSet/>
      <dgm:spPr/>
      <dgm:t>
        <a:bodyPr/>
        <a:lstStyle/>
        <a:p>
          <a:endParaRPr lang="en-IN" sz="1800"/>
        </a:p>
      </dgm:t>
    </dgm:pt>
    <dgm:pt modelId="{CDE65B48-4A4B-4F90-988A-CCEA1336E6C7}" type="sibTrans" cxnId="{DC1EC08A-B53F-4963-B637-A63216882E67}">
      <dgm:prSet/>
      <dgm:spPr/>
      <dgm:t>
        <a:bodyPr/>
        <a:lstStyle/>
        <a:p>
          <a:endParaRPr lang="en-IN" sz="1800"/>
        </a:p>
      </dgm:t>
    </dgm:pt>
    <dgm:pt modelId="{F99A56B6-2D58-4308-BD40-64758C7B489C}" type="pres">
      <dgm:prSet presAssocID="{FF73D7B9-A494-4A0B-944B-550D501BA9D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3935EDE4-208D-426A-953D-468919CAC17C}" type="pres">
      <dgm:prSet presAssocID="{5E24104D-EC44-467C-9FF2-6FED7FDCE6B0}" presName="parentText" presStyleLbl="node1" presStyleIdx="0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9A256B8B-DC7E-40B7-8C25-DA5AAE84213E}" type="pres">
      <dgm:prSet presAssocID="{A9B3E2E7-9DF2-438E-B58C-AC7F37637C11}" presName="spacer" presStyleCnt="0"/>
      <dgm:spPr/>
    </dgm:pt>
    <dgm:pt modelId="{F4E8F258-C5FB-4610-8CA6-9A1D8CCA6A14}" type="pres">
      <dgm:prSet presAssocID="{0904A6EB-C8DD-4FE3-AB5D-0101B65FF7CF}" presName="parentText" presStyleLbl="node1" presStyleIdx="1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39E85F6-A1C5-41A3-8CFA-D51F28BBF26B}" type="pres">
      <dgm:prSet presAssocID="{B4AA0A32-47CE-4B35-BDE0-212F4C7FA560}" presName="spacer" presStyleCnt="0"/>
      <dgm:spPr/>
    </dgm:pt>
    <dgm:pt modelId="{2618EE26-D180-48A6-B27D-D9C02BBF1B98}" type="pres">
      <dgm:prSet presAssocID="{196616F3-5557-45D6-A530-8776D387DEE4}" presName="parentText" presStyleLbl="node1" presStyleIdx="2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AD7E23CA-DBC9-439D-99E6-C66501A27A7B}" type="pres">
      <dgm:prSet presAssocID="{3C17682C-4035-4E42-993C-0F3F633D0DE9}" presName="spacer" presStyleCnt="0"/>
      <dgm:spPr/>
    </dgm:pt>
    <dgm:pt modelId="{20A59F86-B552-4A11-8EA3-F8D65D148C10}" type="pres">
      <dgm:prSet presAssocID="{6638B0EC-D814-4661-8493-71AA0CD29FEC}" presName="parentText" presStyleLbl="node1" presStyleIdx="3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4BBC023-070D-430E-AC7C-08ADFE22108F}" type="pres">
      <dgm:prSet presAssocID="{5DE21C5B-1A09-48CB-B7BC-A44424FE0AFE}" presName="spacer" presStyleCnt="0"/>
      <dgm:spPr/>
    </dgm:pt>
    <dgm:pt modelId="{940693BE-5F14-44C7-9673-125C56020E16}" type="pres">
      <dgm:prSet presAssocID="{D5A24D44-79C7-48B9-A095-C47D97D67777}" presName="parentText" presStyleLbl="node1" presStyleIdx="4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586834C5-ED44-42A5-A22A-C0E12D08F166}" type="pres">
      <dgm:prSet presAssocID="{18C4FE63-4D66-4167-89D6-2D12441A0FB2}" presName="spacer" presStyleCnt="0"/>
      <dgm:spPr/>
    </dgm:pt>
    <dgm:pt modelId="{027EB0FE-031C-4662-AA91-C0AE0073DF97}" type="pres">
      <dgm:prSet presAssocID="{B492A5FD-4AEA-4070-B22D-76A95E5E064D}" presName="parentText" presStyleLbl="node1" presStyleIdx="5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BFDB6B8B-23D9-4CF6-AA59-B99BFE706D41}" type="pres">
      <dgm:prSet presAssocID="{70BBA0D1-91B5-40DA-9A0A-418FCA32893F}" presName="spacer" presStyleCnt="0"/>
      <dgm:spPr/>
    </dgm:pt>
    <dgm:pt modelId="{4561CFDC-B57A-464E-8AAD-1F0127328FA5}" type="pres">
      <dgm:prSet presAssocID="{47EB0D26-8696-4C86-A046-687B0A0EE6ED}" presName="parentText" presStyleLbl="node1" presStyleIdx="6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2B8CF7E-4604-4C95-8302-D7D7791A1984}" type="pres">
      <dgm:prSet presAssocID="{16A9A69C-EAA5-4AB5-8B22-466B167CBB40}" presName="spacer" presStyleCnt="0"/>
      <dgm:spPr/>
    </dgm:pt>
    <dgm:pt modelId="{416F8F92-519A-4BF3-BAD6-190132872F5C}" type="pres">
      <dgm:prSet presAssocID="{D03F272C-0C7B-412E-895D-ED7B71D6EE26}" presName="parentText" presStyleLbl="node1" presStyleIdx="7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5AF07321-7387-4F3E-A34F-196F04EF4178}" type="presOf" srcId="{0904A6EB-C8DD-4FE3-AB5D-0101B65FF7CF}" destId="{F4E8F258-C5FB-4610-8CA6-9A1D8CCA6A14}" srcOrd="0" destOrd="0" presId="urn:microsoft.com/office/officeart/2005/8/layout/vList2"/>
    <dgm:cxn modelId="{076BACE6-5EEC-4CD9-9AF1-53EC51414CC4}" srcId="{FF73D7B9-A494-4A0B-944B-550D501BA9D9}" destId="{47EB0D26-8696-4C86-A046-687B0A0EE6ED}" srcOrd="6" destOrd="0" parTransId="{222B8864-F1C8-49BE-8CD4-9E509A8B64FA}" sibTransId="{16A9A69C-EAA5-4AB5-8B22-466B167CBB40}"/>
    <dgm:cxn modelId="{76BBD168-F0FC-4F58-8DEE-A70F0847ACB5}" type="presOf" srcId="{B492A5FD-4AEA-4070-B22D-76A95E5E064D}" destId="{027EB0FE-031C-4662-AA91-C0AE0073DF97}" srcOrd="0" destOrd="0" presId="urn:microsoft.com/office/officeart/2005/8/layout/vList2"/>
    <dgm:cxn modelId="{DC1EC08A-B53F-4963-B637-A63216882E67}" srcId="{FF73D7B9-A494-4A0B-944B-550D501BA9D9}" destId="{D03F272C-0C7B-412E-895D-ED7B71D6EE26}" srcOrd="7" destOrd="0" parTransId="{E91817B0-8BE6-4AD0-9D50-77082D50DD86}" sibTransId="{CDE65B48-4A4B-4F90-988A-CCEA1336E6C7}"/>
    <dgm:cxn modelId="{BB3713CC-4017-4E44-9D5C-EEA65E7BCD4C}" type="presOf" srcId="{5E24104D-EC44-467C-9FF2-6FED7FDCE6B0}" destId="{3935EDE4-208D-426A-953D-468919CAC17C}" srcOrd="0" destOrd="0" presId="urn:microsoft.com/office/officeart/2005/8/layout/vList2"/>
    <dgm:cxn modelId="{F486D7DD-3C84-4C5F-81E1-95215101B7C2}" srcId="{FF73D7B9-A494-4A0B-944B-550D501BA9D9}" destId="{196616F3-5557-45D6-A530-8776D387DEE4}" srcOrd="2" destOrd="0" parTransId="{D1464D0D-8764-4B1B-A0AA-D7E698C6228F}" sibTransId="{3C17682C-4035-4E42-993C-0F3F633D0DE9}"/>
    <dgm:cxn modelId="{E57B973D-7A13-495C-AD28-5BD7FD4089A5}" srcId="{FF73D7B9-A494-4A0B-944B-550D501BA9D9}" destId="{6638B0EC-D814-4661-8493-71AA0CD29FEC}" srcOrd="3" destOrd="0" parTransId="{CD513503-E09D-42D1-A04E-D25A5CA46290}" sibTransId="{5DE21C5B-1A09-48CB-B7BC-A44424FE0AFE}"/>
    <dgm:cxn modelId="{9A89B8F9-8651-4344-A79B-6E3BC2F60246}" srcId="{FF73D7B9-A494-4A0B-944B-550D501BA9D9}" destId="{5E24104D-EC44-467C-9FF2-6FED7FDCE6B0}" srcOrd="0" destOrd="0" parTransId="{35F9B47D-73FE-4568-8BE8-CBDB2824A4D6}" sibTransId="{A9B3E2E7-9DF2-438E-B58C-AC7F37637C11}"/>
    <dgm:cxn modelId="{A96446A3-F125-40B0-904D-0C5A079669EB}" type="presOf" srcId="{D03F272C-0C7B-412E-895D-ED7B71D6EE26}" destId="{416F8F92-519A-4BF3-BAD6-190132872F5C}" srcOrd="0" destOrd="0" presId="urn:microsoft.com/office/officeart/2005/8/layout/vList2"/>
    <dgm:cxn modelId="{1419CBEB-83A0-422E-A840-9EC9CFDC2235}" type="presOf" srcId="{6638B0EC-D814-4661-8493-71AA0CD29FEC}" destId="{20A59F86-B552-4A11-8EA3-F8D65D148C10}" srcOrd="0" destOrd="0" presId="urn:microsoft.com/office/officeart/2005/8/layout/vList2"/>
    <dgm:cxn modelId="{41460A1E-D4FE-4ADC-A90D-02022140B375}" srcId="{FF73D7B9-A494-4A0B-944B-550D501BA9D9}" destId="{B492A5FD-4AEA-4070-B22D-76A95E5E064D}" srcOrd="5" destOrd="0" parTransId="{B3842431-81D4-4622-9767-5A629998F653}" sibTransId="{70BBA0D1-91B5-40DA-9A0A-418FCA32893F}"/>
    <dgm:cxn modelId="{C31A1B78-61F4-466C-B849-176F6F321684}" type="presOf" srcId="{D5A24D44-79C7-48B9-A095-C47D97D67777}" destId="{940693BE-5F14-44C7-9673-125C56020E16}" srcOrd="0" destOrd="0" presId="urn:microsoft.com/office/officeart/2005/8/layout/vList2"/>
    <dgm:cxn modelId="{B1A6043A-4651-43C6-AA83-291268CA9D7A}" srcId="{FF73D7B9-A494-4A0B-944B-550D501BA9D9}" destId="{0904A6EB-C8DD-4FE3-AB5D-0101B65FF7CF}" srcOrd="1" destOrd="0" parTransId="{F290CA47-903C-4C8D-ACF5-0767BD0A522C}" sibTransId="{B4AA0A32-47CE-4B35-BDE0-212F4C7FA560}"/>
    <dgm:cxn modelId="{B6792FC3-5A50-4CB0-BA93-605333D4BFFA}" type="presOf" srcId="{FF73D7B9-A494-4A0B-944B-550D501BA9D9}" destId="{F99A56B6-2D58-4308-BD40-64758C7B489C}" srcOrd="0" destOrd="0" presId="urn:microsoft.com/office/officeart/2005/8/layout/vList2"/>
    <dgm:cxn modelId="{AF28F556-A617-4E51-AE8B-7D212D79B258}" type="presOf" srcId="{196616F3-5557-45D6-A530-8776D387DEE4}" destId="{2618EE26-D180-48A6-B27D-D9C02BBF1B98}" srcOrd="0" destOrd="0" presId="urn:microsoft.com/office/officeart/2005/8/layout/vList2"/>
    <dgm:cxn modelId="{BF15563B-E3E7-4279-97F2-04C6EC29A08B}" srcId="{FF73D7B9-A494-4A0B-944B-550D501BA9D9}" destId="{D5A24D44-79C7-48B9-A095-C47D97D67777}" srcOrd="4" destOrd="0" parTransId="{9D5C27CD-432E-4C01-9B0B-8CC3AF95BFF1}" sibTransId="{18C4FE63-4D66-4167-89D6-2D12441A0FB2}"/>
    <dgm:cxn modelId="{8EFD21B8-314A-440E-AFEE-77AE3F8E681A}" type="presOf" srcId="{47EB0D26-8696-4C86-A046-687B0A0EE6ED}" destId="{4561CFDC-B57A-464E-8AAD-1F0127328FA5}" srcOrd="0" destOrd="0" presId="urn:microsoft.com/office/officeart/2005/8/layout/vList2"/>
    <dgm:cxn modelId="{7AD85223-9C2B-4A50-9880-33A9BFBB3063}" type="presParOf" srcId="{F99A56B6-2D58-4308-BD40-64758C7B489C}" destId="{3935EDE4-208D-426A-953D-468919CAC17C}" srcOrd="0" destOrd="0" presId="urn:microsoft.com/office/officeart/2005/8/layout/vList2"/>
    <dgm:cxn modelId="{3954A535-4A0D-47E0-AD28-7335CF3CF5AE}" type="presParOf" srcId="{F99A56B6-2D58-4308-BD40-64758C7B489C}" destId="{9A256B8B-DC7E-40B7-8C25-DA5AAE84213E}" srcOrd="1" destOrd="0" presId="urn:microsoft.com/office/officeart/2005/8/layout/vList2"/>
    <dgm:cxn modelId="{548C14E8-22C3-43B6-868A-F3A88B31E970}" type="presParOf" srcId="{F99A56B6-2D58-4308-BD40-64758C7B489C}" destId="{F4E8F258-C5FB-4610-8CA6-9A1D8CCA6A14}" srcOrd="2" destOrd="0" presId="urn:microsoft.com/office/officeart/2005/8/layout/vList2"/>
    <dgm:cxn modelId="{C962C617-8829-45CD-9DF3-4385D1674DA9}" type="presParOf" srcId="{F99A56B6-2D58-4308-BD40-64758C7B489C}" destId="{339E85F6-A1C5-41A3-8CFA-D51F28BBF26B}" srcOrd="3" destOrd="0" presId="urn:microsoft.com/office/officeart/2005/8/layout/vList2"/>
    <dgm:cxn modelId="{1140CFAA-9E69-45E7-ABEB-BADDDE237FF0}" type="presParOf" srcId="{F99A56B6-2D58-4308-BD40-64758C7B489C}" destId="{2618EE26-D180-48A6-B27D-D9C02BBF1B98}" srcOrd="4" destOrd="0" presId="urn:microsoft.com/office/officeart/2005/8/layout/vList2"/>
    <dgm:cxn modelId="{F54CB1B9-F420-4C64-A0AE-779E7A2A1974}" type="presParOf" srcId="{F99A56B6-2D58-4308-BD40-64758C7B489C}" destId="{AD7E23CA-DBC9-439D-99E6-C66501A27A7B}" srcOrd="5" destOrd="0" presId="urn:microsoft.com/office/officeart/2005/8/layout/vList2"/>
    <dgm:cxn modelId="{63035975-5FC6-4E60-97C5-8D743D541011}" type="presParOf" srcId="{F99A56B6-2D58-4308-BD40-64758C7B489C}" destId="{20A59F86-B552-4A11-8EA3-F8D65D148C10}" srcOrd="6" destOrd="0" presId="urn:microsoft.com/office/officeart/2005/8/layout/vList2"/>
    <dgm:cxn modelId="{C3B06F0F-4E6F-441D-97A7-7931C2C17EC5}" type="presParOf" srcId="{F99A56B6-2D58-4308-BD40-64758C7B489C}" destId="{D4BBC023-070D-430E-AC7C-08ADFE22108F}" srcOrd="7" destOrd="0" presId="urn:microsoft.com/office/officeart/2005/8/layout/vList2"/>
    <dgm:cxn modelId="{6FEFBB87-A50F-4F95-8622-865C193833F0}" type="presParOf" srcId="{F99A56B6-2D58-4308-BD40-64758C7B489C}" destId="{940693BE-5F14-44C7-9673-125C56020E16}" srcOrd="8" destOrd="0" presId="urn:microsoft.com/office/officeart/2005/8/layout/vList2"/>
    <dgm:cxn modelId="{6EDB5008-3FB6-4E2D-BFA9-7B5631D2C65F}" type="presParOf" srcId="{F99A56B6-2D58-4308-BD40-64758C7B489C}" destId="{586834C5-ED44-42A5-A22A-C0E12D08F166}" srcOrd="9" destOrd="0" presId="urn:microsoft.com/office/officeart/2005/8/layout/vList2"/>
    <dgm:cxn modelId="{89907030-6F5D-4490-89AA-D4E6420108CD}" type="presParOf" srcId="{F99A56B6-2D58-4308-BD40-64758C7B489C}" destId="{027EB0FE-031C-4662-AA91-C0AE0073DF97}" srcOrd="10" destOrd="0" presId="urn:microsoft.com/office/officeart/2005/8/layout/vList2"/>
    <dgm:cxn modelId="{5DD723EF-FCE1-4E04-A69C-274C050CA824}" type="presParOf" srcId="{F99A56B6-2D58-4308-BD40-64758C7B489C}" destId="{BFDB6B8B-23D9-4CF6-AA59-B99BFE706D41}" srcOrd="11" destOrd="0" presId="urn:microsoft.com/office/officeart/2005/8/layout/vList2"/>
    <dgm:cxn modelId="{3B64BEB5-986B-4415-806C-5748BB669D44}" type="presParOf" srcId="{F99A56B6-2D58-4308-BD40-64758C7B489C}" destId="{4561CFDC-B57A-464E-8AAD-1F0127328FA5}" srcOrd="12" destOrd="0" presId="urn:microsoft.com/office/officeart/2005/8/layout/vList2"/>
    <dgm:cxn modelId="{6AE3AC35-6F54-496E-BC45-B1A50D3EED30}" type="presParOf" srcId="{F99A56B6-2D58-4308-BD40-64758C7B489C}" destId="{C2B8CF7E-4604-4C95-8302-D7D7791A1984}" srcOrd="13" destOrd="0" presId="urn:microsoft.com/office/officeart/2005/8/layout/vList2"/>
    <dgm:cxn modelId="{73433EC8-1758-4A72-AADE-4453DFD6428E}" type="presParOf" srcId="{F99A56B6-2D58-4308-BD40-64758C7B489C}" destId="{416F8F92-519A-4BF3-BAD6-190132872F5C}" srcOrd="1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0368EF-CAF2-48AC-9EF5-7160E50B8AA4}">
      <dsp:nvSpPr>
        <dsp:cNvPr id="0" name=""/>
        <dsp:cNvSpPr/>
      </dsp:nvSpPr>
      <dsp:spPr>
        <a:xfrm>
          <a:off x="0" y="627883"/>
          <a:ext cx="2646598" cy="158795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b="1" i="0" kern="1200" baseline="0" dirty="0" smtClean="0"/>
            <a:t>Engage customers end-to-end </a:t>
          </a:r>
          <a:r>
            <a:rPr lang="en-IN" sz="2000" b="0" i="0" kern="1200" baseline="0" dirty="0" smtClean="0"/>
            <a:t>with Aditya Birla Health Philosophy</a:t>
          </a:r>
          <a:endParaRPr lang="en-IN" sz="1800" b="0" i="0" kern="1200" baseline="0" dirty="0"/>
        </a:p>
      </dsp:txBody>
      <dsp:txXfrm>
        <a:off x="0" y="627883"/>
        <a:ext cx="2646598" cy="1587958"/>
      </dsp:txXfrm>
    </dsp:sp>
    <dsp:sp modelId="{633BDFED-0608-4562-8A67-FC8EC9CAD797}">
      <dsp:nvSpPr>
        <dsp:cNvPr id="0" name=""/>
        <dsp:cNvSpPr/>
      </dsp:nvSpPr>
      <dsp:spPr>
        <a:xfrm>
          <a:off x="2911257" y="627883"/>
          <a:ext cx="2646598" cy="158795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b="0" i="0" kern="1200" baseline="0" dirty="0" smtClean="0"/>
            <a:t>Allows </a:t>
          </a:r>
          <a:r>
            <a:rPr lang="en-IN" sz="1900" b="1" i="0" kern="1200" baseline="0" dirty="0" smtClean="0"/>
            <a:t>2 way engagement </a:t>
          </a:r>
          <a:r>
            <a:rPr lang="en-IN" sz="1900" b="0" i="0" kern="1200" baseline="0" dirty="0" smtClean="0"/>
            <a:t>between ABHI and Customer by being a Health Partner</a:t>
          </a:r>
          <a:endParaRPr lang="en-IN" sz="1900" b="0" i="0" kern="1200" baseline="0" dirty="0"/>
        </a:p>
      </dsp:txBody>
      <dsp:txXfrm>
        <a:off x="2911257" y="627883"/>
        <a:ext cx="2646598" cy="1587958"/>
      </dsp:txXfrm>
    </dsp:sp>
    <dsp:sp modelId="{473E0FB4-2085-4619-AEC4-D6FC6A397855}">
      <dsp:nvSpPr>
        <dsp:cNvPr id="0" name=""/>
        <dsp:cNvSpPr/>
      </dsp:nvSpPr>
      <dsp:spPr>
        <a:xfrm>
          <a:off x="5822515" y="627883"/>
          <a:ext cx="2646598" cy="158795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b="0" i="0" kern="1200" baseline="0" dirty="0" smtClean="0"/>
            <a:t>The only product which intelligently shows </a:t>
          </a:r>
          <a:r>
            <a:rPr lang="en-IN" sz="1900" b="1" i="0" kern="1200" baseline="0" dirty="0" smtClean="0"/>
            <a:t>customized interface </a:t>
          </a:r>
          <a:r>
            <a:rPr lang="en-IN" sz="1900" b="0" i="0" kern="1200" baseline="0" dirty="0" smtClean="0"/>
            <a:t>based on customer type (retail &amp; group)</a:t>
          </a:r>
          <a:endParaRPr lang="en-IN" sz="1900" b="0" i="0" kern="1200" baseline="0" dirty="0"/>
        </a:p>
      </dsp:txBody>
      <dsp:txXfrm>
        <a:off x="5822515" y="627883"/>
        <a:ext cx="2646598" cy="1587958"/>
      </dsp:txXfrm>
    </dsp:sp>
    <dsp:sp modelId="{DB0C6217-BD1F-4065-AE88-1E841DE754E4}">
      <dsp:nvSpPr>
        <dsp:cNvPr id="0" name=""/>
        <dsp:cNvSpPr/>
      </dsp:nvSpPr>
      <dsp:spPr>
        <a:xfrm>
          <a:off x="1455628" y="2480501"/>
          <a:ext cx="2646598" cy="158795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b="1" i="0" kern="1200" baseline="0" dirty="0" smtClean="0"/>
            <a:t>Sales Automation</a:t>
          </a:r>
        </a:p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b="0" i="0" kern="1200" baseline="0" dirty="0" smtClean="0"/>
            <a:t>End to end sales </a:t>
          </a:r>
          <a:r>
            <a:rPr lang="en-IN" sz="1900" b="0" i="0" kern="1200" baseline="0" dirty="0" err="1" smtClean="0"/>
            <a:t>fulfillment</a:t>
          </a:r>
          <a:endParaRPr lang="en-IN" sz="1900" b="0" i="0" kern="1200" baseline="0" dirty="0"/>
        </a:p>
      </dsp:txBody>
      <dsp:txXfrm>
        <a:off x="1455628" y="2480501"/>
        <a:ext cx="2646598" cy="1587958"/>
      </dsp:txXfrm>
    </dsp:sp>
    <dsp:sp modelId="{1A0B171F-F93D-401A-8D10-DBADD81BF183}">
      <dsp:nvSpPr>
        <dsp:cNvPr id="0" name=""/>
        <dsp:cNvSpPr/>
      </dsp:nvSpPr>
      <dsp:spPr>
        <a:xfrm>
          <a:off x="4366886" y="2480501"/>
          <a:ext cx="2646598" cy="158795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900" b="0" i="0" kern="1200" baseline="0" dirty="0" smtClean="0"/>
            <a:t>Connected </a:t>
          </a:r>
          <a:r>
            <a:rPr lang="en-IN" sz="1900" b="1" i="0" kern="1200" baseline="0" dirty="0" smtClean="0"/>
            <a:t>Health and Wellness Eco-System </a:t>
          </a:r>
          <a:endParaRPr lang="en-IN" sz="1900" b="1" i="0" kern="1200" baseline="0" dirty="0"/>
        </a:p>
      </dsp:txBody>
      <dsp:txXfrm>
        <a:off x="4366886" y="2480501"/>
        <a:ext cx="2646598" cy="158795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373C35-0284-4E98-BB1B-DD72FF3636F5}">
      <dsp:nvSpPr>
        <dsp:cNvPr id="0" name=""/>
        <dsp:cNvSpPr/>
      </dsp:nvSpPr>
      <dsp:spPr>
        <a:xfrm>
          <a:off x="2665" y="140412"/>
          <a:ext cx="2598964" cy="5184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1" i="0" kern="1200" baseline="0" dirty="0" smtClean="0"/>
            <a:t>First of its kind</a:t>
          </a:r>
          <a:endParaRPr lang="en-IN" sz="1800" b="1" i="0" kern="1200" baseline="0" dirty="0"/>
        </a:p>
      </dsp:txBody>
      <dsp:txXfrm>
        <a:off x="2665" y="140412"/>
        <a:ext cx="2598964" cy="518400"/>
      </dsp:txXfrm>
    </dsp:sp>
    <dsp:sp modelId="{D54C3841-8E48-4184-9AFF-881F8F2C7804}">
      <dsp:nvSpPr>
        <dsp:cNvPr id="0" name=""/>
        <dsp:cNvSpPr/>
      </dsp:nvSpPr>
      <dsp:spPr>
        <a:xfrm>
          <a:off x="2665" y="658812"/>
          <a:ext cx="2598964" cy="3678246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800" b="0" i="0" kern="1200" baseline="0" dirty="0" smtClean="0"/>
            <a:t>Changed Health Insurance from boring &amp; transactional to engaging &amp; rewarding</a:t>
          </a:r>
          <a:endParaRPr lang="en-IN" sz="1800" b="0" i="0" kern="1200" baseline="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800" b="0" i="0" kern="1200" baseline="0" dirty="0" smtClean="0"/>
            <a:t>Work as Health Partners of every individual by helping him stay fit &amp; improve his health</a:t>
          </a:r>
          <a:endParaRPr lang="en-IN" sz="1800" b="0" i="0" kern="1200" baseline="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800" b="0" i="0" kern="1200" baseline="0" dirty="0" smtClean="0"/>
            <a:t>Chronic Management Program</a:t>
          </a:r>
          <a:endParaRPr lang="en-IN" sz="1800" b="0" i="0" kern="1200" baseline="0" dirty="0"/>
        </a:p>
      </dsp:txBody>
      <dsp:txXfrm>
        <a:off x="2665" y="658812"/>
        <a:ext cx="2598964" cy="3678246"/>
      </dsp:txXfrm>
    </dsp:sp>
    <dsp:sp modelId="{036C0E15-6718-45D4-8C58-4897A824DBF7}">
      <dsp:nvSpPr>
        <dsp:cNvPr id="0" name=""/>
        <dsp:cNvSpPr/>
      </dsp:nvSpPr>
      <dsp:spPr>
        <a:xfrm>
          <a:off x="2965485" y="140412"/>
          <a:ext cx="2598964" cy="5184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1" i="0" kern="1200" baseline="0" dirty="0" smtClean="0"/>
            <a:t>Rich digital platform </a:t>
          </a:r>
          <a:endParaRPr lang="en-IN" sz="1800" b="1" i="0" kern="1200" baseline="0" dirty="0"/>
        </a:p>
      </dsp:txBody>
      <dsp:txXfrm>
        <a:off x="2965485" y="140412"/>
        <a:ext cx="2598964" cy="518400"/>
      </dsp:txXfrm>
    </dsp:sp>
    <dsp:sp modelId="{DF4391E9-57E3-4E5E-AFF7-99E263708FCB}">
      <dsp:nvSpPr>
        <dsp:cNvPr id="0" name=""/>
        <dsp:cNvSpPr/>
      </dsp:nvSpPr>
      <dsp:spPr>
        <a:xfrm>
          <a:off x="2965485" y="658812"/>
          <a:ext cx="2598964" cy="3678246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800" b="0" i="0" kern="1200" baseline="0" smtClean="0"/>
            <a:t>New Business</a:t>
          </a:r>
          <a:endParaRPr lang="en-IN" sz="1800" b="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800" b="0" i="0" kern="1200" baseline="0" dirty="0" smtClean="0"/>
            <a:t>2 way Customer Engagement - Embedded Wellness, DRM, Cashless</a:t>
          </a:r>
          <a:endParaRPr lang="en-IN" sz="1800" b="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800" b="0" i="0" kern="1200" baseline="0" dirty="0" smtClean="0"/>
            <a:t>Digital Service &amp; Support</a:t>
          </a:r>
          <a:endParaRPr lang="en-IN" sz="1800" b="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800" b="0" i="0" kern="1200" baseline="0" dirty="0" smtClean="0"/>
            <a:t>Personalized Digital Health Records on the go</a:t>
          </a: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800" b="0" i="0" kern="1200" baseline="0" dirty="0" smtClean="0"/>
            <a:t>Developed a 2000+ network of doctors/hospitals</a:t>
          </a:r>
        </a:p>
      </dsp:txBody>
      <dsp:txXfrm>
        <a:off x="2965485" y="658812"/>
        <a:ext cx="2598964" cy="3678246"/>
      </dsp:txXfrm>
    </dsp:sp>
    <dsp:sp modelId="{DD5DAA4D-D152-425E-9EDF-12C87AF9361B}">
      <dsp:nvSpPr>
        <dsp:cNvPr id="0" name=""/>
        <dsp:cNvSpPr/>
      </dsp:nvSpPr>
      <dsp:spPr>
        <a:xfrm>
          <a:off x="5928305" y="140412"/>
          <a:ext cx="2598964" cy="5184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1" i="0" kern="1200" baseline="0" dirty="0" smtClean="0"/>
            <a:t>Wellness Features</a:t>
          </a:r>
          <a:endParaRPr lang="en-IN" sz="1800" b="1" i="0" kern="1200" baseline="0" dirty="0"/>
        </a:p>
      </dsp:txBody>
      <dsp:txXfrm>
        <a:off x="5928305" y="140412"/>
        <a:ext cx="2598964" cy="518400"/>
      </dsp:txXfrm>
    </dsp:sp>
    <dsp:sp modelId="{D091759A-B76A-45B8-A1A5-A301182BCBD7}">
      <dsp:nvSpPr>
        <dsp:cNvPr id="0" name=""/>
        <dsp:cNvSpPr/>
      </dsp:nvSpPr>
      <dsp:spPr>
        <a:xfrm>
          <a:off x="5928305" y="658812"/>
          <a:ext cx="2598964" cy="3678246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800" b="0" i="0" kern="1200" baseline="0" dirty="0" smtClean="0"/>
            <a:t>Comprehensive integration with wellness program</a:t>
          </a:r>
          <a:endParaRPr lang="en-IN" sz="1800" b="0" i="0" kern="1200" baseline="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800" b="0" i="0" kern="1200" baseline="0" dirty="0" err="1" smtClean="0"/>
            <a:t>Activ</a:t>
          </a:r>
          <a:r>
            <a:rPr lang="en-IN" sz="1800" b="0" i="0" kern="1200" baseline="0" dirty="0" smtClean="0"/>
            <a:t> Health integrates with 3000+ Health &amp; Fitness Apps</a:t>
          </a:r>
          <a:endParaRPr lang="en-IN" sz="1800" b="0" i="0" kern="1200" baseline="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800" b="0" i="0" kern="1200" baseline="0" dirty="0" smtClean="0"/>
            <a:t>Captures 100+ health and activity data points of the customers then processed to assess customer fitness levels &amp; health risks</a:t>
          </a:r>
          <a:endParaRPr lang="en-IN" sz="1800" b="0" i="0" kern="1200" baseline="0" dirty="0"/>
        </a:p>
      </dsp:txBody>
      <dsp:txXfrm>
        <a:off x="5928305" y="658812"/>
        <a:ext cx="2598964" cy="367824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2E3F2B-5415-48D7-8994-93626230E2CD}">
      <dsp:nvSpPr>
        <dsp:cNvPr id="0" name=""/>
        <dsp:cNvSpPr/>
      </dsp:nvSpPr>
      <dsp:spPr>
        <a:xfrm rot="5400000">
          <a:off x="5485518" y="-2250703"/>
          <a:ext cx="843010" cy="555955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800" b="0" i="0" kern="1200" baseline="0" dirty="0" smtClean="0"/>
            <a:t>Standardization &amp; seamless exchange of data, accessible across touch-points &amp; ability to do analytics to provide better services</a:t>
          </a:r>
          <a:endParaRPr lang="en-IN" sz="1800" kern="1200" dirty="0"/>
        </a:p>
      </dsp:txBody>
      <dsp:txXfrm rot="-5400000">
        <a:off x="3127247" y="148720"/>
        <a:ext cx="5518400" cy="760706"/>
      </dsp:txXfrm>
    </dsp:sp>
    <dsp:sp modelId="{395D9C55-06B5-421B-B31C-2F447EC9A01B}">
      <dsp:nvSpPr>
        <dsp:cNvPr id="0" name=""/>
        <dsp:cNvSpPr/>
      </dsp:nvSpPr>
      <dsp:spPr>
        <a:xfrm>
          <a:off x="0" y="2190"/>
          <a:ext cx="3127248" cy="105376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0" i="0" kern="1200" baseline="0" dirty="0" smtClean="0"/>
            <a:t>Building Digital Ecosystem</a:t>
          </a:r>
          <a:endParaRPr lang="en-IN" sz="1800" kern="1200" dirty="0"/>
        </a:p>
      </dsp:txBody>
      <dsp:txXfrm>
        <a:off x="51440" y="53630"/>
        <a:ext cx="3024368" cy="950882"/>
      </dsp:txXfrm>
    </dsp:sp>
    <dsp:sp modelId="{BB5D6EDD-2C87-41FD-8BF7-0136D3D29498}">
      <dsp:nvSpPr>
        <dsp:cNvPr id="0" name=""/>
        <dsp:cNvSpPr/>
      </dsp:nvSpPr>
      <dsp:spPr>
        <a:xfrm rot="5400000">
          <a:off x="5485518" y="-1144252"/>
          <a:ext cx="843010" cy="555955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800" b="0" i="0" kern="1200" baseline="0" dirty="0" smtClean="0"/>
            <a:t>Stronger control of data flow &amp; privacy controls </a:t>
          </a:r>
          <a:endParaRPr lang="en-IN" sz="1800" kern="1200" dirty="0"/>
        </a:p>
      </dsp:txBody>
      <dsp:txXfrm rot="-5400000">
        <a:off x="3127247" y="1255171"/>
        <a:ext cx="5518400" cy="760706"/>
      </dsp:txXfrm>
    </dsp:sp>
    <dsp:sp modelId="{C763D688-CCCD-47DA-A41B-027566422C7E}">
      <dsp:nvSpPr>
        <dsp:cNvPr id="0" name=""/>
        <dsp:cNvSpPr/>
      </dsp:nvSpPr>
      <dsp:spPr>
        <a:xfrm>
          <a:off x="0" y="1108641"/>
          <a:ext cx="3127248" cy="105376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0" i="0" kern="1200" baseline="0" dirty="0" smtClean="0"/>
            <a:t>Better Fraud management</a:t>
          </a:r>
          <a:endParaRPr lang="en-IN" sz="1800" kern="1200" dirty="0"/>
        </a:p>
      </dsp:txBody>
      <dsp:txXfrm>
        <a:off x="51440" y="1160081"/>
        <a:ext cx="3024368" cy="950882"/>
      </dsp:txXfrm>
    </dsp:sp>
    <dsp:sp modelId="{BA7D0B98-9786-4A1D-9E8C-4439702FF7E3}">
      <dsp:nvSpPr>
        <dsp:cNvPr id="0" name=""/>
        <dsp:cNvSpPr/>
      </dsp:nvSpPr>
      <dsp:spPr>
        <a:xfrm rot="5400000">
          <a:off x="5485518" y="-37801"/>
          <a:ext cx="843010" cy="555955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800" b="0" i="0" kern="1200" baseline="0" dirty="0" smtClean="0"/>
            <a:t>Rolled out 52 features in 120 days</a:t>
          </a:r>
          <a:endParaRPr lang="en-IN" sz="1800" kern="1200" dirty="0"/>
        </a:p>
      </dsp:txBody>
      <dsp:txXfrm rot="-5400000">
        <a:off x="3127247" y="2361622"/>
        <a:ext cx="5518400" cy="760706"/>
      </dsp:txXfrm>
    </dsp:sp>
    <dsp:sp modelId="{D05DFB0C-76F3-4C42-ACDA-5DE73B4BE6EA}">
      <dsp:nvSpPr>
        <dsp:cNvPr id="0" name=""/>
        <dsp:cNvSpPr/>
      </dsp:nvSpPr>
      <dsp:spPr>
        <a:xfrm>
          <a:off x="0" y="2215093"/>
          <a:ext cx="3127248" cy="105376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0" i="0" kern="1200" baseline="0" dirty="0" smtClean="0"/>
            <a:t>Shortest Software Development </a:t>
          </a:r>
          <a:r>
            <a:rPr lang="en-IN" sz="1800" b="0" i="0" kern="1200" baseline="0" dirty="0" err="1" smtClean="0"/>
            <a:t>LifeCycle</a:t>
          </a:r>
          <a:r>
            <a:rPr lang="en-IN" sz="1800" b="0" i="0" kern="1200" baseline="0" dirty="0" smtClean="0"/>
            <a:t> (SDLC)</a:t>
          </a:r>
          <a:endParaRPr lang="en-IN" sz="1800" kern="1200" dirty="0"/>
        </a:p>
      </dsp:txBody>
      <dsp:txXfrm>
        <a:off x="51440" y="2266533"/>
        <a:ext cx="3024368" cy="950882"/>
      </dsp:txXfrm>
    </dsp:sp>
    <dsp:sp modelId="{0362448E-8615-48D0-9A7D-52CE9913AE98}">
      <dsp:nvSpPr>
        <dsp:cNvPr id="0" name=""/>
        <dsp:cNvSpPr/>
      </dsp:nvSpPr>
      <dsp:spPr>
        <a:xfrm rot="5400000">
          <a:off x="5485518" y="1068649"/>
          <a:ext cx="843010" cy="555955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800" b="0" i="0" kern="1200" baseline="0" dirty="0" smtClean="0"/>
            <a:t>Policy servicing on-the-go</a:t>
          </a:r>
          <a:endParaRPr lang="en-IN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800" b="0" i="0" kern="1200" baseline="0" dirty="0" smtClean="0"/>
            <a:t>Integrated partner network &amp; seamless flow of interaction</a:t>
          </a:r>
          <a:endParaRPr lang="en-IN" sz="1800" b="0" i="0" kern="1200" baseline="0" dirty="0"/>
        </a:p>
      </dsp:txBody>
      <dsp:txXfrm rot="-5400000">
        <a:off x="3127247" y="3468072"/>
        <a:ext cx="5518400" cy="760706"/>
      </dsp:txXfrm>
    </dsp:sp>
    <dsp:sp modelId="{35ACEEB6-25D2-4630-9A6A-78B3ADFC2CE8}">
      <dsp:nvSpPr>
        <dsp:cNvPr id="0" name=""/>
        <dsp:cNvSpPr/>
      </dsp:nvSpPr>
      <dsp:spPr>
        <a:xfrm>
          <a:off x="0" y="3321544"/>
          <a:ext cx="3127248" cy="105376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0" i="0" kern="1200" baseline="0" dirty="0" smtClean="0"/>
            <a:t>Better customer service</a:t>
          </a:r>
          <a:endParaRPr lang="en-IN" sz="1800" kern="1200" dirty="0"/>
        </a:p>
      </dsp:txBody>
      <dsp:txXfrm>
        <a:off x="51440" y="3372984"/>
        <a:ext cx="3024368" cy="95088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9B48E0-F2CC-4CD8-B16D-715931E238E7}">
      <dsp:nvSpPr>
        <dsp:cNvPr id="0" name=""/>
        <dsp:cNvSpPr/>
      </dsp:nvSpPr>
      <dsp:spPr>
        <a:xfrm rot="5400000">
          <a:off x="5088983" y="-2712963"/>
          <a:ext cx="741583" cy="635714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600" b="0" i="0" kern="1200" baseline="0" dirty="0" smtClean="0"/>
            <a:t>Business owner, Product owner &amp; Technology owner defined for each feature thus, enabling parallel feature development on the platform</a:t>
          </a:r>
          <a:endParaRPr lang="en-IN" sz="1600" b="0" i="0" kern="1200" baseline="0" dirty="0"/>
        </a:p>
      </dsp:txBody>
      <dsp:txXfrm rot="-5400000">
        <a:off x="2281202" y="131019"/>
        <a:ext cx="6320946" cy="669181"/>
      </dsp:txXfrm>
    </dsp:sp>
    <dsp:sp modelId="{8027C2C0-1A1C-4463-9908-736102286148}">
      <dsp:nvSpPr>
        <dsp:cNvPr id="0" name=""/>
        <dsp:cNvSpPr/>
      </dsp:nvSpPr>
      <dsp:spPr>
        <a:xfrm>
          <a:off x="0" y="2120"/>
          <a:ext cx="2278590" cy="9269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b="0" i="0" kern="1200" baseline="0" dirty="0" smtClean="0"/>
            <a:t>Cross functional POCs</a:t>
          </a:r>
          <a:endParaRPr lang="en-IN" sz="1600" b="0" kern="1200" dirty="0"/>
        </a:p>
      </dsp:txBody>
      <dsp:txXfrm>
        <a:off x="45251" y="47371"/>
        <a:ext cx="2188088" cy="836477"/>
      </dsp:txXfrm>
    </dsp:sp>
    <dsp:sp modelId="{3B2E4333-3793-476F-AF54-36840147F4DE}">
      <dsp:nvSpPr>
        <dsp:cNvPr id="0" name=""/>
        <dsp:cNvSpPr/>
      </dsp:nvSpPr>
      <dsp:spPr>
        <a:xfrm rot="5400000">
          <a:off x="5088983" y="-1739634"/>
          <a:ext cx="741583" cy="635714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600" b="0" i="0" kern="1200" baseline="0" dirty="0" smtClean="0"/>
            <a:t>View app/website across various screen sizes without any breaks. This helps us to deal with  future scalability of devices and support our multi-device users of today.</a:t>
          </a:r>
          <a:endParaRPr lang="en-IN" sz="1600" b="0" kern="1200" dirty="0"/>
        </a:p>
      </dsp:txBody>
      <dsp:txXfrm rot="-5400000">
        <a:off x="2281202" y="1104348"/>
        <a:ext cx="6320946" cy="669181"/>
      </dsp:txXfrm>
    </dsp:sp>
    <dsp:sp modelId="{B71CD0EF-EC1D-4995-8C02-64CD487AD867}">
      <dsp:nvSpPr>
        <dsp:cNvPr id="0" name=""/>
        <dsp:cNvSpPr/>
      </dsp:nvSpPr>
      <dsp:spPr>
        <a:xfrm>
          <a:off x="0" y="975449"/>
          <a:ext cx="2278590" cy="9269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b="0" i="0" kern="1200" baseline="0" dirty="0" smtClean="0"/>
            <a:t>Responsive Design across mediums</a:t>
          </a:r>
          <a:endParaRPr lang="en-IN" sz="1600" b="0" kern="1200" dirty="0"/>
        </a:p>
      </dsp:txBody>
      <dsp:txXfrm>
        <a:off x="45251" y="1020700"/>
        <a:ext cx="2188088" cy="836477"/>
      </dsp:txXfrm>
    </dsp:sp>
    <dsp:sp modelId="{FB492567-2673-4614-83FF-2FB547E729C3}">
      <dsp:nvSpPr>
        <dsp:cNvPr id="0" name=""/>
        <dsp:cNvSpPr/>
      </dsp:nvSpPr>
      <dsp:spPr>
        <a:xfrm rot="5400000">
          <a:off x="5088983" y="-766305"/>
          <a:ext cx="741583" cy="635714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600" b="0" i="0" kern="1200" baseline="0" dirty="0" smtClean="0"/>
            <a:t>Made employees test functionality end-to-end before launch as a pilot user base</a:t>
          </a:r>
          <a:endParaRPr lang="en-IN" sz="1600" b="0" i="0" kern="1200" baseline="0" dirty="0"/>
        </a:p>
      </dsp:txBody>
      <dsp:txXfrm rot="-5400000">
        <a:off x="2281202" y="2077677"/>
        <a:ext cx="6320946" cy="669181"/>
      </dsp:txXfrm>
    </dsp:sp>
    <dsp:sp modelId="{319407A4-3EDB-4F9E-8CE4-38635E2C0D24}">
      <dsp:nvSpPr>
        <dsp:cNvPr id="0" name=""/>
        <dsp:cNvSpPr/>
      </dsp:nvSpPr>
      <dsp:spPr>
        <a:xfrm>
          <a:off x="0" y="1948778"/>
          <a:ext cx="2278590" cy="9269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b="0" i="0" kern="1200" baseline="0" dirty="0" smtClean="0"/>
            <a:t>Dummy Policy testing of the platform</a:t>
          </a:r>
          <a:endParaRPr lang="en-IN" sz="1600" b="0" kern="1200" dirty="0"/>
        </a:p>
      </dsp:txBody>
      <dsp:txXfrm>
        <a:off x="45251" y="1994029"/>
        <a:ext cx="2188088" cy="836477"/>
      </dsp:txXfrm>
    </dsp:sp>
    <dsp:sp modelId="{B3977C78-E8D9-4B9F-9366-17BBFEF5BA33}">
      <dsp:nvSpPr>
        <dsp:cNvPr id="0" name=""/>
        <dsp:cNvSpPr/>
      </dsp:nvSpPr>
      <dsp:spPr>
        <a:xfrm rot="5400000">
          <a:off x="5088983" y="207023"/>
          <a:ext cx="741583" cy="635714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600" b="0" i="0" kern="1200" baseline="0" dirty="0" smtClean="0"/>
            <a:t>Gave employees fitness bands &amp; cumulatively tracked activity data before going to market</a:t>
          </a:r>
          <a:endParaRPr lang="en-IN" sz="1600" b="0" kern="1200" dirty="0"/>
        </a:p>
      </dsp:txBody>
      <dsp:txXfrm rot="-5400000">
        <a:off x="2281202" y="3051006"/>
        <a:ext cx="6320946" cy="669181"/>
      </dsp:txXfrm>
    </dsp:sp>
    <dsp:sp modelId="{C4FCFEF0-6D82-4327-A541-A38F0DBBC17A}">
      <dsp:nvSpPr>
        <dsp:cNvPr id="0" name=""/>
        <dsp:cNvSpPr/>
      </dsp:nvSpPr>
      <dsp:spPr>
        <a:xfrm>
          <a:off x="0" y="2922106"/>
          <a:ext cx="2278590" cy="9269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b="0" i="0" kern="1200" baseline="0" dirty="0" smtClean="0"/>
            <a:t>Testing wellness proposition using the employee base</a:t>
          </a:r>
          <a:endParaRPr lang="en-IN" sz="1600" b="0" kern="1200" dirty="0"/>
        </a:p>
      </dsp:txBody>
      <dsp:txXfrm>
        <a:off x="45251" y="2967357"/>
        <a:ext cx="2188088" cy="836477"/>
      </dsp:txXfrm>
    </dsp:sp>
    <dsp:sp modelId="{44747DAE-97C9-4071-970F-C26AEDE5A79D}">
      <dsp:nvSpPr>
        <dsp:cNvPr id="0" name=""/>
        <dsp:cNvSpPr/>
      </dsp:nvSpPr>
      <dsp:spPr>
        <a:xfrm rot="5400000">
          <a:off x="5088983" y="1180352"/>
          <a:ext cx="741583" cy="635714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600" b="0" i="0" kern="1200" baseline="0" dirty="0" smtClean="0"/>
            <a:t>Spoke to customers using our app and got their feedback to later determine process improvements.  </a:t>
          </a:r>
          <a:endParaRPr lang="en-IN" sz="1600" b="0" i="0" kern="1200" baseline="0" dirty="0"/>
        </a:p>
      </dsp:txBody>
      <dsp:txXfrm rot="-5400000">
        <a:off x="2281202" y="4024335"/>
        <a:ext cx="6320946" cy="669181"/>
      </dsp:txXfrm>
    </dsp:sp>
    <dsp:sp modelId="{FF6AD231-0839-448F-8DB2-0250A7BAB615}">
      <dsp:nvSpPr>
        <dsp:cNvPr id="0" name=""/>
        <dsp:cNvSpPr/>
      </dsp:nvSpPr>
      <dsp:spPr>
        <a:xfrm>
          <a:off x="0" y="3895435"/>
          <a:ext cx="2278590" cy="9269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b="0" i="0" kern="1200" baseline="0" dirty="0" smtClean="0"/>
            <a:t>Customer Connects</a:t>
          </a:r>
          <a:endParaRPr lang="en-IN" sz="1600" b="0" kern="1200" dirty="0"/>
        </a:p>
      </dsp:txBody>
      <dsp:txXfrm>
        <a:off x="45251" y="3940686"/>
        <a:ext cx="2188088" cy="83647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35EDE4-208D-426A-953D-468919CAC17C}">
      <dsp:nvSpPr>
        <dsp:cNvPr id="0" name=""/>
        <dsp:cNvSpPr/>
      </dsp:nvSpPr>
      <dsp:spPr>
        <a:xfrm>
          <a:off x="0" y="740"/>
          <a:ext cx="8710488" cy="645013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0" i="0" kern="1200" baseline="0" dirty="0" smtClean="0"/>
            <a:t>Made On-time Business Launch possible</a:t>
          </a:r>
          <a:endParaRPr lang="en-IN" sz="1800" b="0" i="0" kern="1200" baseline="0" dirty="0"/>
        </a:p>
      </dsp:txBody>
      <dsp:txXfrm>
        <a:off x="31487" y="32227"/>
        <a:ext cx="8647514" cy="582039"/>
      </dsp:txXfrm>
    </dsp:sp>
    <dsp:sp modelId="{F4E8F258-C5FB-4610-8CA6-9A1D8CCA6A14}">
      <dsp:nvSpPr>
        <dsp:cNvPr id="0" name=""/>
        <dsp:cNvSpPr/>
      </dsp:nvSpPr>
      <dsp:spPr>
        <a:xfrm>
          <a:off x="0" y="659324"/>
          <a:ext cx="8710488" cy="645013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0" i="0" kern="1200" baseline="0" dirty="0" smtClean="0"/>
            <a:t>Negotiated better healthcare provider rates for customers </a:t>
          </a:r>
          <a:endParaRPr lang="en-IN" sz="1800" b="0" i="0" kern="1200" baseline="0" dirty="0"/>
        </a:p>
      </dsp:txBody>
      <dsp:txXfrm>
        <a:off x="31487" y="690811"/>
        <a:ext cx="8647514" cy="582039"/>
      </dsp:txXfrm>
    </dsp:sp>
    <dsp:sp modelId="{2618EE26-D180-48A6-B27D-D9C02BBF1B98}">
      <dsp:nvSpPr>
        <dsp:cNvPr id="0" name=""/>
        <dsp:cNvSpPr/>
      </dsp:nvSpPr>
      <dsp:spPr>
        <a:xfrm>
          <a:off x="0" y="1317908"/>
          <a:ext cx="8710488" cy="645013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0" i="0" kern="1200" baseline="0" dirty="0" smtClean="0"/>
            <a:t>Reduction in Service Level TATs</a:t>
          </a:r>
          <a:endParaRPr lang="en-IN" sz="1800" kern="1200" dirty="0"/>
        </a:p>
      </dsp:txBody>
      <dsp:txXfrm>
        <a:off x="31487" y="1349395"/>
        <a:ext cx="8647514" cy="582039"/>
      </dsp:txXfrm>
    </dsp:sp>
    <dsp:sp modelId="{20A59F86-B552-4A11-8EA3-F8D65D148C10}">
      <dsp:nvSpPr>
        <dsp:cNvPr id="0" name=""/>
        <dsp:cNvSpPr/>
      </dsp:nvSpPr>
      <dsp:spPr>
        <a:xfrm>
          <a:off x="0" y="1976492"/>
          <a:ext cx="8710488" cy="645013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0" i="0" kern="1200" baseline="0" dirty="0" smtClean="0"/>
            <a:t>Real Time Engagement with Customer using fitness bands / beacons</a:t>
          </a:r>
          <a:endParaRPr lang="en-IN" sz="1800" b="0" i="0" kern="1200" baseline="0" dirty="0"/>
        </a:p>
      </dsp:txBody>
      <dsp:txXfrm>
        <a:off x="31487" y="2007979"/>
        <a:ext cx="8647514" cy="582039"/>
      </dsp:txXfrm>
    </dsp:sp>
    <dsp:sp modelId="{940693BE-5F14-44C7-9673-125C56020E16}">
      <dsp:nvSpPr>
        <dsp:cNvPr id="0" name=""/>
        <dsp:cNvSpPr/>
      </dsp:nvSpPr>
      <dsp:spPr>
        <a:xfrm>
          <a:off x="0" y="2635077"/>
          <a:ext cx="8710488" cy="645013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0" i="0" kern="1200" baseline="0" dirty="0" smtClean="0"/>
            <a:t>Structured Data &amp; system integration - enabled analytics &amp; less paper work</a:t>
          </a:r>
          <a:endParaRPr lang="en-IN" sz="1800" b="0" i="0" kern="1200" baseline="0" dirty="0"/>
        </a:p>
      </dsp:txBody>
      <dsp:txXfrm>
        <a:off x="31487" y="2666564"/>
        <a:ext cx="8647514" cy="582039"/>
      </dsp:txXfrm>
    </dsp:sp>
    <dsp:sp modelId="{027EB0FE-031C-4662-AA91-C0AE0073DF97}">
      <dsp:nvSpPr>
        <dsp:cNvPr id="0" name=""/>
        <dsp:cNvSpPr/>
      </dsp:nvSpPr>
      <dsp:spPr>
        <a:xfrm>
          <a:off x="0" y="3293661"/>
          <a:ext cx="8710488" cy="645013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0" i="0" kern="1200" baseline="0" dirty="0" smtClean="0"/>
            <a:t>Extensive database of health and wellness services</a:t>
          </a:r>
          <a:endParaRPr lang="en-IN" sz="1800" b="0" i="0" kern="1200" baseline="0" dirty="0"/>
        </a:p>
      </dsp:txBody>
      <dsp:txXfrm>
        <a:off x="31487" y="3325148"/>
        <a:ext cx="8647514" cy="582039"/>
      </dsp:txXfrm>
    </dsp:sp>
    <dsp:sp modelId="{4561CFDC-B57A-464E-8AAD-1F0127328FA5}">
      <dsp:nvSpPr>
        <dsp:cNvPr id="0" name=""/>
        <dsp:cNvSpPr/>
      </dsp:nvSpPr>
      <dsp:spPr>
        <a:xfrm>
          <a:off x="0" y="3952245"/>
          <a:ext cx="8710488" cy="645013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0" i="0" kern="1200" baseline="0" dirty="0" smtClean="0"/>
            <a:t>Customer’s medical reports available real time 24x7 on the go</a:t>
          </a:r>
          <a:endParaRPr lang="en-IN" sz="1800" kern="1200" dirty="0"/>
        </a:p>
      </dsp:txBody>
      <dsp:txXfrm>
        <a:off x="31487" y="3983732"/>
        <a:ext cx="8647514" cy="582039"/>
      </dsp:txXfrm>
    </dsp:sp>
    <dsp:sp modelId="{416F8F92-519A-4BF3-BAD6-190132872F5C}">
      <dsp:nvSpPr>
        <dsp:cNvPr id="0" name=""/>
        <dsp:cNvSpPr/>
      </dsp:nvSpPr>
      <dsp:spPr>
        <a:xfrm>
          <a:off x="0" y="4610829"/>
          <a:ext cx="8710488" cy="645013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0" i="0" kern="1200" baseline="0" dirty="0" smtClean="0"/>
            <a:t>Successfully motivated users to stay healthy &amp; achieve goals  through extensive tracking</a:t>
          </a:r>
          <a:endParaRPr lang="en-IN" sz="1800" b="0" i="0" kern="1200" baseline="0" dirty="0"/>
        </a:p>
      </dsp:txBody>
      <dsp:txXfrm>
        <a:off x="31487" y="4642316"/>
        <a:ext cx="8647514" cy="5820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A4D17E78-6A6C-4379-95AF-6922189DD8B7}" type="datetimeFigureOut">
              <a:rPr lang="en-IN"/>
              <a:pPr>
                <a:defRPr/>
              </a:pPr>
              <a:t>27-06-2017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IN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IN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B0C8CC7D-D037-4D4B-AF29-F78F73B6DBF4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 userDrawn="1"/>
        </p:nvSpPr>
        <p:spPr bwMode="auto">
          <a:xfrm>
            <a:off x="295275" y="1155701"/>
            <a:ext cx="8602266" cy="3986213"/>
          </a:xfrm>
          <a:prstGeom prst="rect">
            <a:avLst/>
          </a:prstGeom>
          <a:solidFill>
            <a:srgbClr val="C51B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0" y="6654800"/>
            <a:ext cx="9144000" cy="2032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4635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450" smtClean="0">
                <a:solidFill>
                  <a:srgbClr val="000000"/>
                </a:solidFill>
              </a:rPr>
              <a:t> Copyright Aditya Birla Nuvo Limited 2014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294085" y="5376864"/>
            <a:ext cx="8596313" cy="1131887"/>
          </a:xfrm>
          <a:prstGeom prst="rect">
            <a:avLst/>
          </a:prstGeom>
          <a:solidFill>
            <a:srgbClr val="FFCD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7" name="Rectangle 17"/>
          <p:cNvSpPr>
            <a:spLocks noChangeArrowheads="1"/>
          </p:cNvSpPr>
          <p:nvPr userDrawn="1"/>
        </p:nvSpPr>
        <p:spPr bwMode="auto">
          <a:xfrm>
            <a:off x="303610" y="4776789"/>
            <a:ext cx="8591550" cy="365125"/>
          </a:xfrm>
          <a:prstGeom prst="rect">
            <a:avLst/>
          </a:prstGeom>
          <a:solidFill>
            <a:srgbClr val="C51B2B">
              <a:alpha val="7294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mtClean="0">
              <a:solidFill>
                <a:srgbClr val="000000"/>
              </a:solidFill>
            </a:endParaRPr>
          </a:p>
        </p:txBody>
      </p:sp>
      <p:pic>
        <p:nvPicPr>
          <p:cNvPr id="8" name="Picture 16" descr="dv235019-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75" y="4800600"/>
            <a:ext cx="8599885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7"/>
          <p:cNvSpPr>
            <a:spLocks noChangeArrowheads="1"/>
          </p:cNvSpPr>
          <p:nvPr userDrawn="1"/>
        </p:nvSpPr>
        <p:spPr bwMode="auto">
          <a:xfrm>
            <a:off x="295275" y="4800601"/>
            <a:ext cx="8602266" cy="365125"/>
          </a:xfrm>
          <a:prstGeom prst="rect">
            <a:avLst/>
          </a:prstGeom>
          <a:solidFill>
            <a:srgbClr val="C51B2B">
              <a:alpha val="7294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mtClean="0">
              <a:solidFill>
                <a:srgbClr val="000000"/>
              </a:solidFill>
            </a:endParaRPr>
          </a:p>
        </p:txBody>
      </p:sp>
      <p:pic>
        <p:nvPicPr>
          <p:cNvPr id="10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0735" y="104776"/>
            <a:ext cx="1109663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6" name="Rectangle 1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57202" y="3886200"/>
            <a:ext cx="6400800" cy="457200"/>
          </a:xfrm>
          <a:ln/>
        </p:spPr>
        <p:txBody>
          <a:bodyPr/>
          <a:lstStyle>
            <a:lvl1pPr marL="0" indent="0">
              <a:buFont typeface="Wingdings" pitchFamily="2" charset="2"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07" name="Rectangle 11"/>
          <p:cNvSpPr>
            <a:spLocks noGrp="1" noChangeArrowheads="1"/>
          </p:cNvSpPr>
          <p:nvPr>
            <p:ph type="ctrTitle" sz="quarter"/>
          </p:nvPr>
        </p:nvSpPr>
        <p:spPr>
          <a:xfrm>
            <a:off x="457203" y="2130464"/>
            <a:ext cx="7772400" cy="1470025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Slide Number Placeholder 16"/>
          <p:cNvSpPr>
            <a:spLocks noGrp="1"/>
          </p:cNvSpPr>
          <p:nvPr>
            <p:ph type="sldNum" sz="quarter" idx="10"/>
          </p:nvPr>
        </p:nvSpPr>
        <p:spPr>
          <a:xfrm>
            <a:off x="6858000" y="6643688"/>
            <a:ext cx="2133600" cy="2143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B71CC8-BA38-4B2B-9100-F1DC978C388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283556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41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89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52" name="think-cell Slide" r:id="rId4" imgW="421" imgH="420" progId="">
                  <p:embed/>
                </p:oleObj>
              </mc:Choice>
              <mc:Fallback>
                <p:oleObj name="think-cell Slide" r:id="rId4" imgW="421" imgH="420" progId="">
                  <p:embed/>
                  <p:pic>
                    <p:nvPicPr>
                      <p:cNvPr id="11266" name="Object 3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0" y="6654800"/>
            <a:ext cx="9144000" cy="203200"/>
          </a:xfrm>
          <a:prstGeom prst="rect">
            <a:avLst/>
          </a:prstGeom>
          <a:solidFill>
            <a:srgbClr val="E3DE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41313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450" smtClean="0">
                <a:solidFill>
                  <a:srgbClr val="000000"/>
                </a:solidFill>
              </a:rPr>
              <a:t> Copyright Aditya Birla Nuvo Limited 2014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6207125"/>
            <a:ext cx="9144000" cy="458788"/>
          </a:xfrm>
          <a:prstGeom prst="rect">
            <a:avLst/>
          </a:prstGeom>
          <a:solidFill>
            <a:srgbClr val="C51B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63538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1050" b="1" smtClean="0">
              <a:solidFill>
                <a:srgbClr val="FFFFFF"/>
              </a:solidFill>
            </a:endParaRPr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6" y="98426"/>
            <a:ext cx="1109663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Chart Placeholder 5"/>
          <p:cNvSpPr>
            <a:spLocks noGrp="1"/>
          </p:cNvSpPr>
          <p:nvPr>
            <p:ph type="chart" sz="quarter" idx="11"/>
          </p:nvPr>
        </p:nvSpPr>
        <p:spPr>
          <a:xfrm>
            <a:off x="460406" y="1285860"/>
            <a:ext cx="8229600" cy="452628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74DECB-4700-4BAC-8B8C-F68BA89FEF8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624230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41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89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76" name="think-cell Slide" r:id="rId4" imgW="421" imgH="420" progId="">
                  <p:embed/>
                </p:oleObj>
              </mc:Choice>
              <mc:Fallback>
                <p:oleObj name="think-cell Slide" r:id="rId4" imgW="421" imgH="420" progId="">
                  <p:embed/>
                  <p:pic>
                    <p:nvPicPr>
                      <p:cNvPr id="12290" name="Object 3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8"/>
          <p:cNvSpPr>
            <a:spLocks noChangeArrowheads="1"/>
          </p:cNvSpPr>
          <p:nvPr/>
        </p:nvSpPr>
        <p:spPr bwMode="auto">
          <a:xfrm>
            <a:off x="0" y="6654800"/>
            <a:ext cx="9144000" cy="203200"/>
          </a:xfrm>
          <a:prstGeom prst="rect">
            <a:avLst/>
          </a:prstGeom>
          <a:solidFill>
            <a:srgbClr val="E3DE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41313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450" smtClean="0">
                <a:solidFill>
                  <a:srgbClr val="000000"/>
                </a:solidFill>
              </a:rPr>
              <a:t> Copyright Aditya Birla Nuvo Limited 2014</a:t>
            </a:r>
          </a:p>
        </p:txBody>
      </p:sp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6207125"/>
            <a:ext cx="9144000" cy="458788"/>
          </a:xfrm>
          <a:prstGeom prst="rect">
            <a:avLst/>
          </a:prstGeom>
          <a:solidFill>
            <a:srgbClr val="C51B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63538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1050" b="1" smtClean="0">
              <a:solidFill>
                <a:srgbClr val="FFFFFF"/>
              </a:solidFill>
            </a:endParaRPr>
          </a:p>
        </p:txBody>
      </p:sp>
      <p:pic>
        <p:nvPicPr>
          <p:cNvPr id="5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6" y="98426"/>
            <a:ext cx="1109663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7"/>
          <p:cNvSpPr>
            <a:spLocks noGrp="1" noChangeArrowheads="1"/>
          </p:cNvSpPr>
          <p:nvPr>
            <p:ph type="dt" sz="half" idx="10"/>
          </p:nvPr>
        </p:nvSpPr>
        <p:spPr>
          <a:xfrm>
            <a:off x="367904" y="6248400"/>
            <a:ext cx="19050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7" name="Rectangle 18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8" name="Slide Number Placeholder 16"/>
          <p:cNvSpPr>
            <a:spLocks noGrp="1"/>
          </p:cNvSpPr>
          <p:nvPr>
            <p:ph type="sldNum" sz="quarter" idx="12"/>
          </p:nvPr>
        </p:nvSpPr>
        <p:spPr>
          <a:xfrm>
            <a:off x="6858000" y="6643688"/>
            <a:ext cx="2133600" cy="2143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90B4F4-63F6-4478-B2AE-DB914E8C29D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5240943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41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89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60" name="think-cell Slide" r:id="rId4" imgW="421" imgH="420" progId="">
                  <p:embed/>
                </p:oleObj>
              </mc:Choice>
              <mc:Fallback>
                <p:oleObj name="think-cell Slide" r:id="rId4" imgW="421" imgH="420" progId="">
                  <p:embed/>
                  <p:pic>
                    <p:nvPicPr>
                      <p:cNvPr id="3074" name="Object 3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0" y="6654800"/>
            <a:ext cx="9144000" cy="203200"/>
          </a:xfrm>
          <a:prstGeom prst="rect">
            <a:avLst/>
          </a:prstGeom>
          <a:solidFill>
            <a:srgbClr val="E3DE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41313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450" smtClean="0">
                <a:solidFill>
                  <a:srgbClr val="000000"/>
                </a:solidFill>
              </a:rPr>
              <a:t> Copyright Aditya Birla Nuvo Limited 2014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6207125"/>
            <a:ext cx="9144000" cy="458788"/>
          </a:xfrm>
          <a:prstGeom prst="rect">
            <a:avLst/>
          </a:prstGeom>
          <a:solidFill>
            <a:srgbClr val="C51B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63538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1050" b="1" smtClean="0">
              <a:solidFill>
                <a:srgbClr val="FFFFFF"/>
              </a:solidFill>
            </a:endParaRPr>
          </a:p>
        </p:txBody>
      </p:sp>
      <p:pic>
        <p:nvPicPr>
          <p:cNvPr id="7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6" y="98426"/>
            <a:ext cx="1109663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 marL="1587104" indent="-166688">
              <a:defRPr sz="7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BAD9F6-18A6-48B1-870E-66B2B301DD4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670030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41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89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84" name="think-cell Slide" r:id="rId4" imgW="421" imgH="420" progId="">
                  <p:embed/>
                </p:oleObj>
              </mc:Choice>
              <mc:Fallback>
                <p:oleObj name="think-cell Slide" r:id="rId4" imgW="421" imgH="420" progId="">
                  <p:embed/>
                  <p:pic>
                    <p:nvPicPr>
                      <p:cNvPr id="4098" name="Object 3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0" y="6654800"/>
            <a:ext cx="9144000" cy="203200"/>
          </a:xfrm>
          <a:prstGeom prst="rect">
            <a:avLst/>
          </a:prstGeom>
          <a:solidFill>
            <a:srgbClr val="E3DE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41313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450" smtClean="0">
                <a:solidFill>
                  <a:srgbClr val="000000"/>
                </a:solidFill>
              </a:rPr>
              <a:t> Copyright Aditya Birla Nuvo Limited 2014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6207125"/>
            <a:ext cx="9144000" cy="458788"/>
          </a:xfrm>
          <a:prstGeom prst="rect">
            <a:avLst/>
          </a:prstGeom>
          <a:solidFill>
            <a:srgbClr val="C51B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63538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1050" b="1" smtClean="0">
              <a:solidFill>
                <a:srgbClr val="FFFFFF"/>
              </a:solidFill>
            </a:endParaRPr>
          </a:p>
        </p:txBody>
      </p:sp>
      <p:pic>
        <p:nvPicPr>
          <p:cNvPr id="7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6" y="98426"/>
            <a:ext cx="1109663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6" y="4406939"/>
            <a:ext cx="7772400" cy="1362075"/>
          </a:xfrm>
        </p:spPr>
        <p:txBody>
          <a:bodyPr anchor="t"/>
          <a:lstStyle>
            <a:lvl1pPr algn="l">
              <a:defRPr sz="2100" b="1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6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2E6061-22BC-4DB4-822C-3E7C9165707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486080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41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89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08" name="think-cell Slide" r:id="rId4" imgW="421" imgH="420" progId="">
                  <p:embed/>
                </p:oleObj>
              </mc:Choice>
              <mc:Fallback>
                <p:oleObj name="think-cell Slide" r:id="rId4" imgW="421" imgH="420" progId="">
                  <p:embed/>
                  <p:pic>
                    <p:nvPicPr>
                      <p:cNvPr id="5122" name="Object 3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0" y="6654800"/>
            <a:ext cx="9144000" cy="203200"/>
          </a:xfrm>
          <a:prstGeom prst="rect">
            <a:avLst/>
          </a:prstGeom>
          <a:solidFill>
            <a:srgbClr val="E3DE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41313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450" smtClean="0">
                <a:solidFill>
                  <a:srgbClr val="000000"/>
                </a:solidFill>
              </a:rPr>
              <a:t> Copyright Aditya Birla Nuvo Limited 2014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6207125"/>
            <a:ext cx="9144000" cy="458788"/>
          </a:xfrm>
          <a:prstGeom prst="rect">
            <a:avLst/>
          </a:prstGeom>
          <a:solidFill>
            <a:srgbClr val="C51B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63538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1050" b="1" smtClean="0">
              <a:solidFill>
                <a:srgbClr val="FFFFFF"/>
              </a:solidFill>
            </a:endParaRP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6" y="98426"/>
            <a:ext cx="1109663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1"/>
          </p:nvPr>
        </p:nvSpPr>
        <p:spPr>
          <a:xfrm>
            <a:off x="4724405" y="1284288"/>
            <a:ext cx="4038600" cy="4525962"/>
          </a:xfrm>
        </p:spPr>
        <p:txBody>
          <a:bodyPr/>
          <a:lstStyle>
            <a:lvl1pPr>
              <a:defRPr sz="1500"/>
            </a:lvl1pPr>
            <a:lvl2pPr>
              <a:buAutoNum type="alphaLcParenR"/>
              <a:defRPr sz="1200"/>
            </a:lvl2pPr>
            <a:lvl3pPr>
              <a:buAutoNum type="romanLcPeriod"/>
              <a:defRPr sz="1050"/>
            </a:lvl3pPr>
            <a:lvl4pPr>
              <a:defRPr sz="900"/>
            </a:lvl4pPr>
            <a:lvl5pPr marL="1587104" indent="-166688">
              <a:defRPr sz="7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2"/>
          </p:nvPr>
        </p:nvSpPr>
        <p:spPr>
          <a:xfrm>
            <a:off x="457201" y="1284288"/>
            <a:ext cx="4038600" cy="4525962"/>
          </a:xfrm>
        </p:spPr>
        <p:txBody>
          <a:bodyPr/>
          <a:lstStyle>
            <a:lvl1pPr>
              <a:defRPr sz="1500"/>
            </a:lvl1pPr>
            <a:lvl2pPr>
              <a:buAutoNum type="alphaLcParenR"/>
              <a:defRPr sz="1200"/>
            </a:lvl2pPr>
            <a:lvl3pPr>
              <a:buAutoNum type="romanLcPeriod"/>
              <a:defRPr sz="1050"/>
            </a:lvl3pPr>
            <a:lvl4pPr>
              <a:defRPr sz="900"/>
            </a:lvl4pPr>
            <a:lvl5pPr marL="1587104" indent="-166688">
              <a:defRPr sz="7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tangle 9"/>
          <p:cNvSpPr>
            <a:spLocks noGrp="1" noChangeArrowheads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72027B-F5AE-426E-929D-9E372EAB5D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237474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41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89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32" name="think-cell Slide" r:id="rId4" imgW="421" imgH="420" progId="">
                  <p:embed/>
                </p:oleObj>
              </mc:Choice>
              <mc:Fallback>
                <p:oleObj name="think-cell Slide" r:id="rId4" imgW="421" imgH="420" progId="">
                  <p:embed/>
                  <p:pic>
                    <p:nvPicPr>
                      <p:cNvPr id="6146" name="Object 3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0" y="6654800"/>
            <a:ext cx="9144000" cy="203200"/>
          </a:xfrm>
          <a:prstGeom prst="rect">
            <a:avLst/>
          </a:prstGeom>
          <a:solidFill>
            <a:srgbClr val="E3DE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41313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450" smtClean="0">
                <a:solidFill>
                  <a:srgbClr val="000000"/>
                </a:solidFill>
              </a:rPr>
              <a:t> Copyright Aditya Birla Nuvo Limited 2014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0" y="6207125"/>
            <a:ext cx="9144000" cy="458788"/>
          </a:xfrm>
          <a:prstGeom prst="rect">
            <a:avLst/>
          </a:prstGeom>
          <a:solidFill>
            <a:srgbClr val="C51B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63538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1050" b="1" smtClean="0">
              <a:solidFill>
                <a:srgbClr val="FFFFFF"/>
              </a:solidFill>
            </a:endParaRPr>
          </a:p>
        </p:txBody>
      </p:sp>
      <p:pic>
        <p:nvPicPr>
          <p:cNvPr id="11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6" y="98426"/>
            <a:ext cx="1109663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6" y="152419"/>
            <a:ext cx="6972319" cy="854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1"/>
          </p:nvPr>
        </p:nvSpPr>
        <p:spPr>
          <a:xfrm>
            <a:off x="4724405" y="1284288"/>
            <a:ext cx="4038600" cy="4525962"/>
          </a:xfrm>
        </p:spPr>
        <p:txBody>
          <a:bodyPr/>
          <a:lstStyle>
            <a:lvl1pPr>
              <a:defRPr sz="1500"/>
            </a:lvl1pPr>
            <a:lvl2pPr>
              <a:buAutoNum type="alphaLcParenR"/>
              <a:defRPr sz="1200"/>
            </a:lvl2pPr>
            <a:lvl3pPr>
              <a:buAutoNum type="romanLcPeriod"/>
              <a:defRPr sz="1050"/>
            </a:lvl3pPr>
            <a:lvl4pPr>
              <a:defRPr sz="900"/>
            </a:lvl4pPr>
            <a:lvl5pPr marL="1587104" indent="-166688">
              <a:defRPr sz="7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457201" y="1284288"/>
            <a:ext cx="4038600" cy="4525962"/>
          </a:xfrm>
        </p:spPr>
        <p:txBody>
          <a:bodyPr/>
          <a:lstStyle>
            <a:lvl1pPr>
              <a:defRPr sz="1500"/>
            </a:lvl1pPr>
            <a:lvl2pPr>
              <a:buAutoNum type="alphaLcParenR"/>
              <a:defRPr sz="1200"/>
            </a:lvl2pPr>
            <a:lvl3pPr>
              <a:buAutoNum type="romanLcPeriod"/>
              <a:defRPr sz="1050"/>
            </a:lvl3pPr>
            <a:lvl4pPr>
              <a:defRPr sz="900"/>
            </a:lvl4pPr>
            <a:lvl5pPr marL="1587104" indent="-166688">
              <a:defRPr sz="7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Rectangle 9"/>
          <p:cNvSpPr>
            <a:spLocks noGrp="1" noChangeArrowheads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8762A3-128A-4FE6-9486-9BC338ADAA8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946117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41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89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56" name="think-cell Slide" r:id="rId4" imgW="421" imgH="420" progId="">
                  <p:embed/>
                </p:oleObj>
              </mc:Choice>
              <mc:Fallback>
                <p:oleObj name="think-cell Slide" r:id="rId4" imgW="421" imgH="420" progId="">
                  <p:embed/>
                  <p:pic>
                    <p:nvPicPr>
                      <p:cNvPr id="7170" name="Object 3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/>
          <p:cNvSpPr>
            <a:spLocks noChangeArrowheads="1"/>
          </p:cNvSpPr>
          <p:nvPr/>
        </p:nvSpPr>
        <p:spPr bwMode="auto">
          <a:xfrm>
            <a:off x="0" y="6654800"/>
            <a:ext cx="9144000" cy="203200"/>
          </a:xfrm>
          <a:prstGeom prst="rect">
            <a:avLst/>
          </a:prstGeom>
          <a:solidFill>
            <a:srgbClr val="E3DE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41313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450" smtClean="0">
                <a:solidFill>
                  <a:srgbClr val="000000"/>
                </a:solidFill>
              </a:rPr>
              <a:t> Copyright Aditya Birla Nuvo Limited 2014</a:t>
            </a: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0" y="6207125"/>
            <a:ext cx="9144000" cy="458788"/>
          </a:xfrm>
          <a:prstGeom prst="rect">
            <a:avLst/>
          </a:prstGeom>
          <a:solidFill>
            <a:srgbClr val="C51B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63538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1050" b="1" smtClean="0">
              <a:solidFill>
                <a:srgbClr val="FFFFFF"/>
              </a:solidFill>
            </a:endParaRPr>
          </a:p>
        </p:txBody>
      </p:sp>
      <p:pic>
        <p:nvPicPr>
          <p:cNvPr id="6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6" y="98426"/>
            <a:ext cx="1109663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EC3885-EC00-446C-8635-8519F5524C2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36230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41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89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0" name="think-cell Slide" r:id="rId4" imgW="421" imgH="420" progId="">
                  <p:embed/>
                </p:oleObj>
              </mc:Choice>
              <mc:Fallback>
                <p:oleObj name="think-cell Slide" r:id="rId4" imgW="421" imgH="420" progId="">
                  <p:embed/>
                  <p:pic>
                    <p:nvPicPr>
                      <p:cNvPr id="8194" name="Object 3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8"/>
          <p:cNvSpPr>
            <a:spLocks noChangeArrowheads="1"/>
          </p:cNvSpPr>
          <p:nvPr/>
        </p:nvSpPr>
        <p:spPr bwMode="auto">
          <a:xfrm>
            <a:off x="0" y="6654800"/>
            <a:ext cx="9144000" cy="203200"/>
          </a:xfrm>
          <a:prstGeom prst="rect">
            <a:avLst/>
          </a:prstGeom>
          <a:solidFill>
            <a:srgbClr val="E3DE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41313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450" smtClean="0">
                <a:solidFill>
                  <a:srgbClr val="000000"/>
                </a:solidFill>
              </a:rPr>
              <a:t> Copyright Aditya Birla Nuvo Limited 2014</a:t>
            </a:r>
          </a:p>
        </p:txBody>
      </p:sp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6207125"/>
            <a:ext cx="9144000" cy="458788"/>
          </a:xfrm>
          <a:prstGeom prst="rect">
            <a:avLst/>
          </a:prstGeom>
          <a:solidFill>
            <a:srgbClr val="C51B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63538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1050" b="1" smtClean="0">
              <a:solidFill>
                <a:srgbClr val="FFFFFF"/>
              </a:solidFill>
            </a:endParaRPr>
          </a:p>
        </p:txBody>
      </p:sp>
      <p:pic>
        <p:nvPicPr>
          <p:cNvPr id="5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6" y="98426"/>
            <a:ext cx="1109663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8A6657-9FAE-439E-BBA6-64674679447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54318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41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89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04" name="think-cell Slide" r:id="rId4" imgW="421" imgH="420" progId="">
                  <p:embed/>
                </p:oleObj>
              </mc:Choice>
              <mc:Fallback>
                <p:oleObj name="think-cell Slide" r:id="rId4" imgW="421" imgH="420" progId="">
                  <p:embed/>
                  <p:pic>
                    <p:nvPicPr>
                      <p:cNvPr id="9218" name="Object 3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0" y="6654800"/>
            <a:ext cx="9144000" cy="203200"/>
          </a:xfrm>
          <a:prstGeom prst="rect">
            <a:avLst/>
          </a:prstGeom>
          <a:solidFill>
            <a:srgbClr val="E3DE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41313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450" smtClean="0">
                <a:solidFill>
                  <a:srgbClr val="000000"/>
                </a:solidFill>
              </a:rPr>
              <a:t> Copyright Aditya Birla Nuvo Limited 2014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6207125"/>
            <a:ext cx="9144000" cy="458788"/>
          </a:xfrm>
          <a:prstGeom prst="rect">
            <a:avLst/>
          </a:prstGeom>
          <a:solidFill>
            <a:srgbClr val="C51B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63538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1050" b="1" smtClean="0">
              <a:solidFill>
                <a:srgbClr val="FFFFFF"/>
              </a:solidFill>
            </a:endParaRPr>
          </a:p>
        </p:txBody>
      </p:sp>
      <p:pic>
        <p:nvPicPr>
          <p:cNvPr id="8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6" y="98426"/>
            <a:ext cx="1109663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94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94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94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F7105C-76F0-4539-B6A2-E739F39AD4B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59835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41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89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8" name="think-cell Slide" r:id="rId4" imgW="421" imgH="420" progId="">
                  <p:embed/>
                </p:oleObj>
              </mc:Choice>
              <mc:Fallback>
                <p:oleObj name="think-cell Slide" r:id="rId4" imgW="421" imgH="420" progId="">
                  <p:embed/>
                  <p:pic>
                    <p:nvPicPr>
                      <p:cNvPr id="10242" name="Object 3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0" y="6654800"/>
            <a:ext cx="9144000" cy="203200"/>
          </a:xfrm>
          <a:prstGeom prst="rect">
            <a:avLst/>
          </a:prstGeom>
          <a:solidFill>
            <a:srgbClr val="E3DE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41313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450" smtClean="0">
                <a:solidFill>
                  <a:srgbClr val="000000"/>
                </a:solidFill>
              </a:rPr>
              <a:t> Copyright Aditya Birla Nuvo Limited 2014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6207125"/>
            <a:ext cx="9144000" cy="458788"/>
          </a:xfrm>
          <a:prstGeom prst="rect">
            <a:avLst/>
          </a:prstGeom>
          <a:solidFill>
            <a:srgbClr val="C51B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63538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1050" b="1" smtClean="0">
              <a:solidFill>
                <a:srgbClr val="FFFFFF"/>
              </a:solidFill>
            </a:endParaRPr>
          </a:p>
        </p:txBody>
      </p:sp>
      <p:pic>
        <p:nvPicPr>
          <p:cNvPr id="7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6" y="98426"/>
            <a:ext cx="1109663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3" y="1284288"/>
            <a:ext cx="8229600" cy="4525962"/>
          </a:xfrm>
        </p:spPr>
        <p:txBody>
          <a:bodyPr vert="eaVert"/>
          <a:lstStyle>
            <a:lvl5pPr marL="1615679" indent="-195263">
              <a:defRPr sz="75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24ADDE-243C-40F7-AB2D-06F8BF5F255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37327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416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192" y="1589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" name="think-cell Slide" r:id="rId15" imgW="421" imgH="420" progId="">
                  <p:embed/>
                </p:oleObj>
              </mc:Choice>
              <mc:Fallback>
                <p:oleObj name="think-cell Slide" r:id="rId15" imgW="421" imgH="420" progId="">
                  <p:embed/>
                  <p:pic>
                    <p:nvPicPr>
                      <p:cNvPr id="0" name="Object 34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2381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52401"/>
            <a:ext cx="6972300" cy="85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IN" altLang="en-US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84288"/>
            <a:ext cx="82296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IN" altLang="en-US" smtClean="0"/>
              <a:t>Approved Numeric Bullets</a:t>
            </a:r>
          </a:p>
          <a:p>
            <a:pPr lvl="1"/>
            <a:r>
              <a:rPr lang="en-IN" altLang="en-US" smtClean="0"/>
              <a:t>Arial – 16pt size</a:t>
            </a:r>
          </a:p>
          <a:p>
            <a:pPr lvl="2"/>
            <a:r>
              <a:rPr lang="en-IN" altLang="en-US" smtClean="0"/>
              <a:t>Color: Black</a:t>
            </a:r>
          </a:p>
          <a:p>
            <a:pPr lvl="3"/>
            <a:r>
              <a:rPr lang="en-IN" altLang="en-US" smtClean="0"/>
              <a:t>Bullet Color: R167 G13 B13</a:t>
            </a:r>
          </a:p>
          <a:p>
            <a:pPr lvl="4"/>
            <a:endParaRPr lang="en-IN" altLang="en-US" smtClean="0"/>
          </a:p>
        </p:txBody>
      </p:sp>
      <p:sp>
        <p:nvSpPr>
          <p:cNvPr id="1029" name="Rectangle 8"/>
          <p:cNvSpPr>
            <a:spLocks noChangeArrowheads="1"/>
          </p:cNvSpPr>
          <p:nvPr/>
        </p:nvSpPr>
        <p:spPr bwMode="auto">
          <a:xfrm>
            <a:off x="0" y="6654800"/>
            <a:ext cx="9144000" cy="203200"/>
          </a:xfrm>
          <a:prstGeom prst="rect">
            <a:avLst/>
          </a:prstGeom>
          <a:solidFill>
            <a:srgbClr val="E3DE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41313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450" smtClean="0">
                <a:solidFill>
                  <a:srgbClr val="000000"/>
                </a:solidFill>
              </a:rPr>
              <a:t> Copyright Aditya Birla Nuvo Limited 2014</a:t>
            </a:r>
          </a:p>
        </p:txBody>
      </p:sp>
      <p:sp>
        <p:nvSpPr>
          <p:cNvPr id="385033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3237" y="6643688"/>
            <a:ext cx="21336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75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66A6519-F6FA-47BF-9B3E-A65252FD49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1031" name="Rectangle 7"/>
          <p:cNvSpPr>
            <a:spLocks noChangeArrowheads="1"/>
          </p:cNvSpPr>
          <p:nvPr userDrawn="1"/>
        </p:nvSpPr>
        <p:spPr bwMode="auto">
          <a:xfrm>
            <a:off x="0" y="6207125"/>
            <a:ext cx="9144000" cy="458788"/>
          </a:xfrm>
          <a:prstGeom prst="rect">
            <a:avLst/>
          </a:prstGeom>
          <a:solidFill>
            <a:srgbClr val="C51B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marL="363538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1050" b="1" smtClean="0">
              <a:solidFill>
                <a:srgbClr val="FFFFFF"/>
              </a:solidFill>
            </a:endParaRPr>
          </a:p>
        </p:txBody>
      </p:sp>
      <p:pic>
        <p:nvPicPr>
          <p:cNvPr id="1032" name="Picture 9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516" y="98426"/>
            <a:ext cx="1109663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>
          <a:solidFill>
            <a:srgbClr val="C51B2B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>
          <a:solidFill>
            <a:srgbClr val="C51B2B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>
          <a:solidFill>
            <a:srgbClr val="C51B2B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>
          <a:solidFill>
            <a:srgbClr val="C51B2B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>
          <a:solidFill>
            <a:srgbClr val="C51B2B"/>
          </a:solidFill>
          <a:latin typeface="Arial" pitchFamily="34" charset="0"/>
          <a:cs typeface="Arial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2100">
          <a:solidFill>
            <a:srgbClr val="A70D0D"/>
          </a:solidFill>
          <a:latin typeface="Arial" pitchFamily="34" charset="0"/>
          <a:cs typeface="Arial" pitchFamily="34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2100">
          <a:solidFill>
            <a:srgbClr val="A70D0D"/>
          </a:solidFill>
          <a:latin typeface="Arial" pitchFamily="34" charset="0"/>
          <a:cs typeface="Arial" pitchFamily="34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2100">
          <a:solidFill>
            <a:srgbClr val="A70D0D"/>
          </a:solidFill>
          <a:latin typeface="Arial" pitchFamily="34" charset="0"/>
          <a:cs typeface="Arial" pitchFamily="34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2100">
          <a:solidFill>
            <a:srgbClr val="A70D0D"/>
          </a:solidFill>
          <a:latin typeface="Arial" pitchFamily="34" charset="0"/>
          <a:cs typeface="Arial" pitchFamily="34" charset="0"/>
        </a:defRPr>
      </a:lvl9pPr>
    </p:titleStyle>
    <p:bodyStyle>
      <a:lvl1pPr marL="340519" indent="-340519" algn="l" rtl="0" eaLnBrk="0" fontAlgn="base" hangingPunct="0">
        <a:spcBef>
          <a:spcPct val="20000"/>
        </a:spcBef>
        <a:spcAft>
          <a:spcPct val="0"/>
        </a:spcAft>
        <a:buClr>
          <a:srgbClr val="A70D0D"/>
        </a:buClr>
        <a:buFont typeface="Wingdings" panose="05000000000000000000" pitchFamily="2" charset="2"/>
        <a:buAutoNum type="arabicPeriod"/>
        <a:defRPr sz="1500">
          <a:solidFill>
            <a:schemeClr val="tx1"/>
          </a:solidFill>
          <a:latin typeface="+mj-lt"/>
          <a:ea typeface="+mn-ea"/>
          <a:cs typeface="+mn-cs"/>
        </a:defRPr>
      </a:lvl1pPr>
      <a:lvl2pPr marL="683419" indent="-257175" algn="l" rtl="0" eaLnBrk="0" fontAlgn="base" hangingPunct="0">
        <a:spcBef>
          <a:spcPct val="20000"/>
        </a:spcBef>
        <a:spcAft>
          <a:spcPct val="0"/>
        </a:spcAft>
        <a:buClr>
          <a:srgbClr val="A70D0D"/>
        </a:buClr>
        <a:buFont typeface="Arial" panose="020B0604020202020204" pitchFamily="34" charset="0"/>
        <a:buAutoNum type="alphaLcParenR"/>
        <a:defRPr sz="1200">
          <a:solidFill>
            <a:schemeClr val="tx1"/>
          </a:solidFill>
          <a:latin typeface="+mj-lt"/>
          <a:cs typeface="+mn-cs"/>
        </a:defRPr>
      </a:lvl2pPr>
      <a:lvl3pPr marL="854869" indent="-171450" algn="l" rtl="0" eaLnBrk="0" fontAlgn="base" hangingPunct="0">
        <a:spcBef>
          <a:spcPct val="20000"/>
        </a:spcBef>
        <a:spcAft>
          <a:spcPct val="0"/>
        </a:spcAft>
        <a:buClr>
          <a:srgbClr val="A70D0D"/>
        </a:buClr>
        <a:buAutoNum type="romanLcPeriod"/>
        <a:defRPr sz="1050">
          <a:solidFill>
            <a:schemeClr val="tx1"/>
          </a:solidFill>
          <a:latin typeface="+mj-lt"/>
          <a:cs typeface="+mn-cs"/>
        </a:defRPr>
      </a:lvl3pPr>
      <a:lvl4pPr marL="1117997" indent="-178594" algn="l" rtl="0" eaLnBrk="0" fontAlgn="base" hangingPunct="0">
        <a:spcBef>
          <a:spcPct val="20000"/>
        </a:spcBef>
        <a:spcAft>
          <a:spcPct val="0"/>
        </a:spcAft>
        <a:buClr>
          <a:srgbClr val="A70D0D"/>
        </a:buClr>
        <a:buFont typeface="Wingdings" panose="05000000000000000000" pitchFamily="2" charset="2"/>
        <a:buChar char="§"/>
        <a:defRPr sz="900">
          <a:solidFill>
            <a:schemeClr val="tx1"/>
          </a:solidFill>
          <a:latin typeface="+mj-lt"/>
          <a:cs typeface="+mn-cs"/>
        </a:defRPr>
      </a:lvl4pPr>
      <a:lvl5pPr marL="1668066" indent="-247650" algn="l" rtl="0" eaLnBrk="0" fontAlgn="base" hangingPunct="0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j-lt"/>
          <a:cs typeface="+mn-cs"/>
        </a:defRPr>
      </a:lvl5pPr>
      <a:lvl6pPr marL="2010966" indent="-2476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2353866" indent="-2476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696766" indent="-2476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3039666" indent="-2476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 Placeholder 1"/>
          <p:cNvSpPr>
            <a:spLocks noGrp="1"/>
          </p:cNvSpPr>
          <p:nvPr>
            <p:ph type="body" idx="1"/>
          </p:nvPr>
        </p:nvSpPr>
        <p:spPr>
          <a:xfrm>
            <a:off x="611560" y="1556792"/>
            <a:ext cx="6552728" cy="1800200"/>
          </a:xfrm>
        </p:spPr>
        <p:txBody>
          <a:bodyPr/>
          <a:lstStyle/>
          <a:p>
            <a:r>
              <a:rPr lang="en-IN" altLang="en-US" sz="2400" b="1" dirty="0" smtClean="0"/>
              <a:t>Aditya Birla Health Insurance</a:t>
            </a:r>
            <a:endParaRPr lang="en-IN" altLang="en-US" sz="2400" b="1" dirty="0" smtClean="0"/>
          </a:p>
        </p:txBody>
      </p:sp>
      <p:sp>
        <p:nvSpPr>
          <p:cNvPr id="15363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3A079534-68AA-4A26-8DB7-5B05DAABC09B}" type="slidenum">
              <a:rPr lang="en-US" altLang="en-US" smtClean="0">
                <a:solidFill>
                  <a:srgbClr val="000000"/>
                </a:solidFill>
              </a:rPr>
              <a:pPr/>
              <a:t>1</a:t>
            </a:fld>
            <a:endParaRPr lang="en-US" altLang="en-US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>
            <a:spLocks noGrp="1"/>
          </p:cNvSpPr>
          <p:nvPr>
            <p:ph type="title"/>
          </p:nvPr>
        </p:nvSpPr>
        <p:spPr>
          <a:xfrm>
            <a:off x="395536" y="332656"/>
            <a:ext cx="7050397" cy="4587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00"/>
              </a:spcBef>
              <a:defRPr sz="2400" b="1">
                <a:solidFill>
                  <a:srgbClr val="C00000"/>
                </a:solidFill>
              </a:defRPr>
            </a:lvl1pPr>
          </a:lstStyle>
          <a:p>
            <a:pPr>
              <a:defRPr>
                <a:solidFill>
                  <a:srgbClr val="000000"/>
                </a:solidFill>
              </a:defRPr>
            </a:pPr>
            <a:r>
              <a:rPr lang="en-IN" dirty="0" smtClean="0">
                <a:solidFill>
                  <a:srgbClr val="C00000"/>
                </a:solidFill>
              </a:rPr>
              <a:t>Snapshots of our </a:t>
            </a:r>
            <a:r>
              <a:rPr lang="en-IN" dirty="0" err="1" smtClean="0">
                <a:solidFill>
                  <a:srgbClr val="C00000"/>
                </a:solidFill>
              </a:rPr>
              <a:t>Activ</a:t>
            </a:r>
            <a:r>
              <a:rPr lang="en-IN" dirty="0" smtClean="0">
                <a:solidFill>
                  <a:srgbClr val="C00000"/>
                </a:solidFill>
              </a:rPr>
              <a:t> Health app </a:t>
            </a:r>
            <a:endParaRPr dirty="0">
              <a:solidFill>
                <a:srgbClr val="C00000"/>
              </a:solidFill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5188" y="1556792"/>
            <a:ext cx="24686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72200" y="1628800"/>
            <a:ext cx="2401165" cy="3816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80213" y="1052736"/>
            <a:ext cx="2315923" cy="4104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ounded Rectangle 14"/>
          <p:cNvSpPr/>
          <p:nvPr/>
        </p:nvSpPr>
        <p:spPr>
          <a:xfrm>
            <a:off x="179512" y="5672962"/>
            <a:ext cx="8784976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algn="ctr"/>
            <a:r>
              <a:rPr kumimoji="0" lang="en-IN" sz="18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Simple user interfaces, explanatory user flows and good pictorial representations</a:t>
            </a:r>
            <a:endParaRPr kumimoji="0" lang="en-IN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51032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AF7AA7F0-D9C4-4A7A-9EC3-018E095D5D4B}" type="slidenum">
              <a:rPr lang="en-US" altLang="en-US" smtClean="0">
                <a:solidFill>
                  <a:srgbClr val="000000"/>
                </a:solidFill>
              </a:rPr>
              <a:pPr/>
              <a:t>11</a:t>
            </a:fld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3"/>
          <p:cNvSpPr txBox="1">
            <a:spLocks/>
          </p:cNvSpPr>
          <p:nvPr/>
        </p:nvSpPr>
        <p:spPr>
          <a:xfrm>
            <a:off x="8643010" y="6643709"/>
            <a:ext cx="245404" cy="226987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fld id="{86CB4B4D-7CA3-9044-876B-883B54F8677D}" type="slidenum">
              <a:rPr lang="en-IN" smtClean="0"/>
              <a:pPr/>
              <a:t>11</a:t>
            </a:fld>
            <a:endParaRPr lang="en-IN"/>
          </a:p>
        </p:txBody>
      </p:sp>
      <p:graphicFrame>
        <p:nvGraphicFramePr>
          <p:cNvPr id="8" name="Diagram 7"/>
          <p:cNvGraphicFramePr/>
          <p:nvPr/>
        </p:nvGraphicFramePr>
        <p:xfrm>
          <a:off x="179512" y="908720"/>
          <a:ext cx="8710488" cy="5256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Rectangle 2"/>
          <p:cNvSpPr txBox="1">
            <a:spLocks/>
          </p:cNvSpPr>
          <p:nvPr/>
        </p:nvSpPr>
        <p:spPr>
          <a:xfrm>
            <a:off x="395536" y="332656"/>
            <a:ext cx="7050397" cy="4587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rmAutofit/>
          </a:bodyPr>
          <a:lstStyle>
            <a:lvl1pPr>
              <a:spcBef>
                <a:spcPts val="300"/>
              </a:spcBef>
              <a:defRPr sz="2400" b="1">
                <a:solidFill>
                  <a:srgbClr val="C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/>
                </a:solidFill>
              </a:defRPr>
            </a:pPr>
            <a:r>
              <a:rPr kumimoji="0" lang="en-IN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mpact of</a:t>
            </a:r>
            <a:r>
              <a:rPr kumimoji="0" lang="en-IN" sz="2400" b="1" i="0" u="none" strike="noStrike" kern="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the project</a:t>
            </a:r>
            <a:endParaRPr kumimoji="0" lang="en-IN" sz="2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27519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B3A6A38-493C-484E-A234-3E529E67E20A}" type="slidenum">
              <a:rPr lang="en-US" altLang="en-US" smtClean="0">
                <a:solidFill>
                  <a:srgbClr val="000000"/>
                </a:solidFill>
              </a:rPr>
              <a:pPr/>
              <a:t>12</a:t>
            </a:fld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30723" name="TextBox 5"/>
          <p:cNvSpPr txBox="1">
            <a:spLocks noChangeArrowheads="1"/>
          </p:cNvSpPr>
          <p:nvPr/>
        </p:nvSpPr>
        <p:spPr bwMode="auto">
          <a:xfrm>
            <a:off x="2627784" y="2896791"/>
            <a:ext cx="3350345" cy="4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IN" altLang="en-US" sz="2250" dirty="0">
                <a:solidFill>
                  <a:srgbClr val="C51B2B"/>
                </a:solidFill>
                <a:latin typeface="Calibri" panose="020F0502020204030204" pitchFamily="34" charset="0"/>
              </a:rPr>
              <a:t>Thank You 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AF7AA7F0-D9C4-4A7A-9EC3-018E095D5D4B}" type="slidenum">
              <a:rPr lang="en-US" altLang="en-US" smtClean="0">
                <a:solidFill>
                  <a:srgbClr val="000000"/>
                </a:solidFill>
              </a:rPr>
              <a:pPr/>
              <a:t>2</a:t>
            </a:fld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 txBox="1">
            <a:spLocks/>
          </p:cNvSpPr>
          <p:nvPr/>
        </p:nvSpPr>
        <p:spPr>
          <a:xfrm>
            <a:off x="8713641" y="6643709"/>
            <a:ext cx="174773" cy="226987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fld id="{86CB4B4D-7CA3-9044-876B-883B54F8677D}" type="slidenum">
              <a:rPr lang="en-IN" smtClean="0"/>
              <a:pPr/>
              <a:t>2</a:t>
            </a:fld>
            <a:endParaRPr lang="en-IN"/>
          </a:p>
        </p:txBody>
      </p:sp>
      <p:sp>
        <p:nvSpPr>
          <p:cNvPr id="5" name="Rectangle 2"/>
          <p:cNvSpPr>
            <a:spLocks noGrp="1"/>
          </p:cNvSpPr>
          <p:nvPr>
            <p:ph type="title"/>
          </p:nvPr>
        </p:nvSpPr>
        <p:spPr>
          <a:xfrm>
            <a:off x="418029" y="315639"/>
            <a:ext cx="5133767" cy="458789"/>
          </a:xfrm>
          <a:prstGeom prst="rect">
            <a:avLst/>
          </a:prstGeom>
        </p:spPr>
        <p:txBody>
          <a:bodyPr/>
          <a:lstStyle>
            <a:lvl1pPr>
              <a:spcBef>
                <a:spcPts val="300"/>
              </a:spcBef>
              <a:defRPr sz="2400" b="1">
                <a:solidFill>
                  <a:srgbClr val="C00000"/>
                </a:solidFill>
              </a:defRPr>
            </a:lvl1pPr>
          </a:lstStyle>
          <a:p>
            <a:pPr>
              <a:defRPr>
                <a:solidFill>
                  <a:srgbClr val="000000"/>
                </a:solidFill>
              </a:defRPr>
            </a:pPr>
            <a:r>
              <a:rPr dirty="0">
                <a:solidFill>
                  <a:srgbClr val="C00000"/>
                </a:solidFill>
              </a:rPr>
              <a:t>Why </a:t>
            </a:r>
            <a:r>
              <a:rPr lang="en-IN" dirty="0" smtClean="0">
                <a:solidFill>
                  <a:srgbClr val="C00000"/>
                </a:solidFill>
              </a:rPr>
              <a:t>Aditya Birla Health</a:t>
            </a:r>
            <a:endParaRPr dirty="0">
              <a:solidFill>
                <a:srgbClr val="C00000"/>
              </a:solidFill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054997994"/>
              </p:ext>
            </p:extLst>
          </p:nvPr>
        </p:nvGraphicFramePr>
        <p:xfrm>
          <a:off x="337443" y="1199962"/>
          <a:ext cx="8469114" cy="46963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ounded Rectangle 6"/>
          <p:cNvSpPr/>
          <p:nvPr/>
        </p:nvSpPr>
        <p:spPr>
          <a:xfrm>
            <a:off x="72008" y="5606809"/>
            <a:ext cx="8964488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algn="ctr"/>
            <a:r>
              <a:rPr lang="en-IN" dirty="0" smtClean="0"/>
              <a:t>First of its kind non-traditional Health Insurance Engagement Platform in the Country</a:t>
            </a:r>
          </a:p>
        </p:txBody>
      </p:sp>
      <p:sp>
        <p:nvSpPr>
          <p:cNvPr id="8" name="Rectangle 7"/>
          <p:cNvSpPr/>
          <p:nvPr/>
        </p:nvSpPr>
        <p:spPr>
          <a:xfrm>
            <a:off x="179512" y="1187460"/>
            <a:ext cx="8820472" cy="32316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spcBef>
                <a:spcPts val="200"/>
              </a:spcBef>
              <a:defRPr sz="1800" b="1">
                <a:solidFill>
                  <a:srgbClr val="000000"/>
                </a:solidFill>
              </a:defRPr>
            </a:pPr>
            <a:r>
              <a:rPr lang="en-IN" sz="1500" dirty="0" smtClean="0"/>
              <a:t>Aditya Birla Health Philosophy – Know your health, Improve your health, Get Rewarded</a:t>
            </a:r>
            <a:endParaRPr lang="en-IN" sz="1500" dirty="0"/>
          </a:p>
        </p:txBody>
      </p:sp>
    </p:spTree>
    <p:extLst>
      <p:ext uri="{BB962C8B-B14F-4D97-AF65-F5344CB8AC3E}">
        <p14:creationId xmlns:p14="http://schemas.microsoft.com/office/powerpoint/2010/main" val="1080548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AF7AA7F0-D9C4-4A7A-9EC3-018E095D5D4B}" type="slidenum">
              <a:rPr lang="en-US" altLang="en-US" smtClean="0">
                <a:solidFill>
                  <a:srgbClr val="000000"/>
                </a:solidFill>
              </a:rPr>
              <a:pPr/>
              <a:t>3</a:t>
            </a:fld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 txBox="1">
            <a:spLocks/>
          </p:cNvSpPr>
          <p:nvPr/>
        </p:nvSpPr>
        <p:spPr>
          <a:xfrm>
            <a:off x="8713641" y="6643709"/>
            <a:ext cx="174773" cy="226987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fld id="{86CB4B4D-7CA3-9044-876B-883B54F8677D}" type="slidenum">
              <a:rPr lang="en-IN" smtClean="0"/>
              <a:pPr/>
              <a:t>3</a:t>
            </a:fld>
            <a:endParaRPr lang="en-IN"/>
          </a:p>
        </p:txBody>
      </p:sp>
      <p:graphicFrame>
        <p:nvGraphicFramePr>
          <p:cNvPr id="5" name="Diagram 4"/>
          <p:cNvGraphicFramePr/>
          <p:nvPr/>
        </p:nvGraphicFramePr>
        <p:xfrm>
          <a:off x="307032" y="980728"/>
          <a:ext cx="8529936" cy="4477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ounded Rectangle 5"/>
          <p:cNvSpPr/>
          <p:nvPr/>
        </p:nvSpPr>
        <p:spPr>
          <a:xfrm>
            <a:off x="179512" y="5672962"/>
            <a:ext cx="8784976" cy="40862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IN" sz="18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In</a:t>
            </a:r>
            <a:r>
              <a:rPr lang="en-IN" dirty="0" smtClean="0"/>
              <a:t>tegration of health &amp; wellness concepts with tracking – all delivered digitally</a:t>
            </a:r>
            <a:endParaRPr kumimoji="0" lang="en-IN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6593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AF7AA7F0-D9C4-4A7A-9EC3-018E095D5D4B}" type="slidenum">
              <a:rPr lang="en-US" altLang="en-US" smtClean="0">
                <a:solidFill>
                  <a:srgbClr val="000000"/>
                </a:solidFill>
              </a:rPr>
              <a:pPr/>
              <a:t>4</a:t>
            </a:fld>
            <a:endParaRPr lang="en-US" altLang="en-US" smtClean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09698" y="1127449"/>
            <a:ext cx="2598964" cy="798531"/>
            <a:chOff x="2665" y="261221"/>
            <a:chExt cx="2598964" cy="798531"/>
          </a:xfrm>
        </p:grpSpPr>
        <p:sp>
          <p:nvSpPr>
            <p:cNvPr id="22" name="Rectangle 21"/>
            <p:cNvSpPr/>
            <p:nvPr/>
          </p:nvSpPr>
          <p:spPr>
            <a:xfrm>
              <a:off x="2665" y="261221"/>
              <a:ext cx="2598964" cy="798531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TextBox 22"/>
            <p:cNvSpPr txBox="1"/>
            <p:nvPr/>
          </p:nvSpPr>
          <p:spPr>
            <a:xfrm>
              <a:off x="2665" y="261221"/>
              <a:ext cx="2598964" cy="7985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6464" tIns="89408" rIns="156464" bIns="89408" numCol="1" spcCol="1270" anchor="ctr" anchorCtr="0">
              <a:noAutofit/>
            </a:bodyPr>
            <a:lstStyle/>
            <a:p>
              <a:pPr lvl="0" algn="ctr" defTabSz="9779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2200" b="1" i="0" kern="1200" baseline="0" dirty="0" smtClean="0"/>
                <a:t>Earn Health Returns</a:t>
              </a:r>
              <a:endParaRPr lang="en-IN" sz="2200" kern="1200" dirty="0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309698" y="1925980"/>
            <a:ext cx="2598964" cy="4023300"/>
            <a:chOff x="2665" y="1059752"/>
            <a:chExt cx="2598964" cy="3804570"/>
          </a:xfrm>
        </p:grpSpPr>
        <p:sp>
          <p:nvSpPr>
            <p:cNvPr id="20" name="Rectangle 19"/>
            <p:cNvSpPr/>
            <p:nvPr/>
          </p:nvSpPr>
          <p:spPr>
            <a:xfrm>
              <a:off x="2665" y="1059752"/>
              <a:ext cx="2598964" cy="3804570"/>
            </a:xfrm>
            <a:prstGeom prst="rect">
              <a:avLst/>
            </a:pr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TextBox 20"/>
            <p:cNvSpPr txBox="1"/>
            <p:nvPr/>
          </p:nvSpPr>
          <p:spPr>
            <a:xfrm>
              <a:off x="2665" y="1059752"/>
              <a:ext cx="2598964" cy="380457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7348" tIns="117348" rIns="156464" bIns="176022" numCol="1" spcCol="1270" anchor="t" anchorCtr="0">
              <a:noAutofit/>
            </a:bodyPr>
            <a:lstStyle/>
            <a:p>
              <a:pPr marL="228600" lvl="1" indent="-228600" algn="l" defTabSz="9779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IN" sz="2200" b="0" i="0" kern="1200" baseline="0" dirty="0" smtClean="0"/>
                <a:t>Cash-back for staying fit and healthy</a:t>
              </a:r>
              <a:endParaRPr lang="en-IN" sz="2200" b="0" kern="1200" dirty="0"/>
            </a:p>
            <a:p>
              <a:pPr marL="228600" lvl="1" indent="-228600" algn="l" defTabSz="9779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IN" sz="2200" b="0" i="0" kern="1200" baseline="0" dirty="0" smtClean="0"/>
                <a:t>Simple dashboard to check earnings</a:t>
              </a:r>
              <a:endParaRPr lang="en-IN" sz="2200" kern="1200" dirty="0"/>
            </a:p>
            <a:p>
              <a:pPr marL="228600" lvl="1" indent="-228600" algn="l" defTabSz="9779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IN" sz="2200" b="0" i="0" kern="1200" baseline="0" dirty="0" smtClean="0"/>
                <a:t>Choose to use Health Returns to pay for next year premium or other medical expenses etc</a:t>
              </a:r>
              <a:endParaRPr lang="en-IN" sz="2200" kern="1200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3272518" y="1127449"/>
            <a:ext cx="2598964" cy="798531"/>
            <a:chOff x="2965485" y="261221"/>
            <a:chExt cx="2598964" cy="798531"/>
          </a:xfrm>
        </p:grpSpPr>
        <p:sp>
          <p:nvSpPr>
            <p:cNvPr id="18" name="Rectangle 17"/>
            <p:cNvSpPr/>
            <p:nvPr/>
          </p:nvSpPr>
          <p:spPr>
            <a:xfrm>
              <a:off x="2965485" y="261221"/>
              <a:ext cx="2598964" cy="798531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TextBox 18"/>
            <p:cNvSpPr txBox="1"/>
            <p:nvPr/>
          </p:nvSpPr>
          <p:spPr>
            <a:xfrm>
              <a:off x="2965485" y="261221"/>
              <a:ext cx="2598964" cy="7985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6464" tIns="89408" rIns="156464" bIns="89408" numCol="1" spcCol="1270" anchor="ctr" anchorCtr="0">
              <a:noAutofit/>
            </a:bodyPr>
            <a:lstStyle/>
            <a:p>
              <a:pPr lvl="0" algn="ctr" defTabSz="9779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2200" b="1" i="0" kern="1200" baseline="0" dirty="0" smtClean="0"/>
                <a:t>Sales Automation</a:t>
              </a:r>
              <a:endParaRPr lang="en-IN" sz="2200" kern="1200" dirty="0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3272518" y="1925980"/>
            <a:ext cx="2598964" cy="4023300"/>
            <a:chOff x="2965485" y="1059752"/>
            <a:chExt cx="2598964" cy="3804570"/>
          </a:xfrm>
        </p:grpSpPr>
        <p:sp>
          <p:nvSpPr>
            <p:cNvPr id="16" name="Rectangle 15"/>
            <p:cNvSpPr/>
            <p:nvPr/>
          </p:nvSpPr>
          <p:spPr>
            <a:xfrm>
              <a:off x="2965485" y="1059752"/>
              <a:ext cx="2598964" cy="3804570"/>
            </a:xfrm>
            <a:prstGeom prst="rect">
              <a:avLst/>
            </a:pr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TextBox 16"/>
            <p:cNvSpPr txBox="1"/>
            <p:nvPr/>
          </p:nvSpPr>
          <p:spPr>
            <a:xfrm>
              <a:off x="2965485" y="1059752"/>
              <a:ext cx="2598964" cy="380457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7348" tIns="117348" rIns="156464" bIns="176022" numCol="1" spcCol="1270" anchor="t" anchorCtr="0">
              <a:noAutofit/>
            </a:bodyPr>
            <a:lstStyle/>
            <a:p>
              <a:pPr marL="228600" lvl="1" indent="-228600" algn="l" defTabSz="9779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IN" sz="2200" b="0" i="0" kern="1200" baseline="0" dirty="0" smtClean="0"/>
                <a:t>Get a Quote and Buy Insurance</a:t>
              </a:r>
              <a:endParaRPr lang="en-IN" sz="2200" kern="1200" dirty="0"/>
            </a:p>
            <a:p>
              <a:pPr marL="228600" lvl="1" indent="-228600" algn="l" defTabSz="9779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IN" sz="2200" kern="1200" dirty="0" smtClean="0"/>
                <a:t>Generate Lead</a:t>
              </a:r>
              <a:endParaRPr lang="en-IN" sz="2200" kern="1200" dirty="0"/>
            </a:p>
            <a:p>
              <a:pPr marL="228600" lvl="1" indent="-228600" algn="l" defTabSz="9779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IN" sz="2200" kern="1200" dirty="0" smtClean="0"/>
                <a:t>Instant Issuance</a:t>
              </a:r>
              <a:endParaRPr lang="en-IN" sz="2200" kern="1200" dirty="0"/>
            </a:p>
            <a:p>
              <a:pPr marL="228600" lvl="1" indent="-228600" algn="l" defTabSz="9779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IN" sz="2200" kern="1200" dirty="0" smtClean="0"/>
                <a:t>Works both offline and Online</a:t>
              </a:r>
              <a:endParaRPr lang="en-IN" sz="2200" kern="1200" dirty="0"/>
            </a:p>
            <a:p>
              <a:pPr marL="228600" lvl="1" indent="-228600" algn="l" defTabSz="9779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IN" sz="2200" kern="1200" dirty="0" smtClean="0"/>
                <a:t>One stop solution for sales – to track their biz and performance</a:t>
              </a:r>
              <a:endParaRPr lang="en-IN" sz="2200" kern="1200" dirty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235338" y="1127449"/>
            <a:ext cx="2598964" cy="798531"/>
            <a:chOff x="5928305" y="261221"/>
            <a:chExt cx="2598964" cy="798531"/>
          </a:xfrm>
        </p:grpSpPr>
        <p:sp>
          <p:nvSpPr>
            <p:cNvPr id="14" name="Rectangle 13"/>
            <p:cNvSpPr/>
            <p:nvPr/>
          </p:nvSpPr>
          <p:spPr>
            <a:xfrm>
              <a:off x="5928305" y="261221"/>
              <a:ext cx="2598964" cy="798531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TextBox 14"/>
            <p:cNvSpPr txBox="1"/>
            <p:nvPr/>
          </p:nvSpPr>
          <p:spPr>
            <a:xfrm>
              <a:off x="5928305" y="261221"/>
              <a:ext cx="2598964" cy="7985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6464" tIns="89408" rIns="156464" bIns="89408" numCol="1" spcCol="1270" anchor="ctr" anchorCtr="0">
              <a:noAutofit/>
            </a:bodyPr>
            <a:lstStyle/>
            <a:p>
              <a:pPr lvl="0" algn="ctr" defTabSz="9779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2200" b="1" i="0" kern="1200" baseline="0" dirty="0" smtClean="0"/>
                <a:t>Shortest time to market</a:t>
              </a:r>
              <a:endParaRPr lang="en-IN" sz="2200" kern="1200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6235338" y="1925980"/>
            <a:ext cx="2598964" cy="4023300"/>
            <a:chOff x="5928305" y="1059752"/>
            <a:chExt cx="2598964" cy="3804570"/>
          </a:xfrm>
        </p:grpSpPr>
        <p:sp>
          <p:nvSpPr>
            <p:cNvPr id="12" name="Rectangle 11"/>
            <p:cNvSpPr/>
            <p:nvPr/>
          </p:nvSpPr>
          <p:spPr>
            <a:xfrm>
              <a:off x="5928305" y="1059752"/>
              <a:ext cx="2598964" cy="3804570"/>
            </a:xfrm>
            <a:prstGeom prst="rect">
              <a:avLst/>
            </a:pr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TextBox 12"/>
            <p:cNvSpPr txBox="1"/>
            <p:nvPr/>
          </p:nvSpPr>
          <p:spPr>
            <a:xfrm>
              <a:off x="5928305" y="1059752"/>
              <a:ext cx="2598964" cy="380457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7348" tIns="117348" rIns="156464" bIns="176022" numCol="1" spcCol="1270" anchor="t" anchorCtr="0">
              <a:noAutofit/>
            </a:bodyPr>
            <a:lstStyle/>
            <a:p>
              <a:pPr marL="228600" lvl="1" indent="-228600" algn="l" defTabSz="977900" rtl="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IN" sz="2200" b="0" i="0" kern="1200" baseline="0" dirty="0" smtClean="0"/>
                <a:t>No other Health/Life/ General Insurance company in the country today has a digital platform as engaging, as service rich and as customer focused as </a:t>
              </a:r>
              <a:r>
                <a:rPr lang="en-IN" sz="2200" b="0" i="0" kern="1200" baseline="0" dirty="0" err="1" smtClean="0"/>
                <a:t>Activ</a:t>
              </a:r>
              <a:r>
                <a:rPr lang="en-IN" sz="2200" b="0" i="0" kern="1200" baseline="0" dirty="0" smtClean="0"/>
                <a:t> Health</a:t>
              </a:r>
              <a:endParaRPr lang="en-IN" sz="22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038761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AF7AA7F0-D9C4-4A7A-9EC3-018E095D5D4B}" type="slidenum">
              <a:rPr lang="en-US" altLang="en-US" smtClean="0">
                <a:solidFill>
                  <a:srgbClr val="000000"/>
                </a:solidFill>
              </a:rPr>
              <a:pPr/>
              <a:t>5</a:t>
            </a:fld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7086600" cy="854075"/>
          </a:xfrm>
        </p:spPr>
        <p:txBody>
          <a:bodyPr>
            <a:normAutofit/>
          </a:bodyPr>
          <a:lstStyle/>
          <a:p>
            <a:r>
              <a:rPr lang="en-IN" sz="2400" b="1" dirty="0" smtClean="0">
                <a:solidFill>
                  <a:srgbClr val="C00000"/>
                </a:solidFill>
              </a:rPr>
              <a:t>Building Excellence</a:t>
            </a:r>
            <a:endParaRPr lang="en-IN" sz="2400" b="1" dirty="0">
              <a:solidFill>
                <a:srgbClr val="C00000"/>
              </a:solidFill>
            </a:endParaRPr>
          </a:p>
        </p:txBody>
      </p:sp>
      <p:graphicFrame>
        <p:nvGraphicFramePr>
          <p:cNvPr id="5" name="Diagram 4"/>
          <p:cNvGraphicFramePr/>
          <p:nvPr/>
        </p:nvGraphicFramePr>
        <p:xfrm>
          <a:off x="205680" y="908720"/>
          <a:ext cx="8686800" cy="43774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ounded Rectangle 5"/>
          <p:cNvSpPr/>
          <p:nvPr/>
        </p:nvSpPr>
        <p:spPr>
          <a:xfrm>
            <a:off x="179512" y="5388206"/>
            <a:ext cx="8784976" cy="715087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algn="ctr"/>
            <a:r>
              <a:rPr kumimoji="0" lang="en-IN" sz="18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Need</a:t>
            </a:r>
            <a:r>
              <a:rPr kumimoji="0" lang="en-IN" sz="18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 of the hour: Going digital</a:t>
            </a:r>
          </a:p>
          <a:p>
            <a:pPr algn="ctr"/>
            <a:r>
              <a:rPr kumimoji="0" lang="en-IN" sz="18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Overcome being the last mover disadvantage: Differentiation </a:t>
            </a:r>
            <a:r>
              <a:rPr lang="en-IN" dirty="0" smtClean="0"/>
              <a:t>across verticals</a:t>
            </a:r>
            <a:endParaRPr kumimoji="0" lang="en-IN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8825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AF7AA7F0-D9C4-4A7A-9EC3-018E095D5D4B}" type="slidenum">
              <a:rPr lang="en-US" altLang="en-US" smtClean="0">
                <a:solidFill>
                  <a:srgbClr val="000000"/>
                </a:solidFill>
              </a:rPr>
              <a:pPr/>
              <a:t>6</a:t>
            </a:fld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189430" y="-27384"/>
            <a:ext cx="7455202" cy="1128758"/>
          </a:xfrm>
        </p:spPr>
        <p:txBody>
          <a:bodyPr/>
          <a:lstStyle/>
          <a:p>
            <a:pPr lvl="0">
              <a:spcBef>
                <a:spcPct val="20000"/>
              </a:spcBef>
            </a:pPr>
            <a:r>
              <a:rPr lang="en-US" sz="2400" b="1" dirty="0" smtClean="0">
                <a:solidFill>
                  <a:srgbClr val="C00000"/>
                </a:solidFill>
                <a:ea typeface="+mn-ea"/>
                <a:cs typeface="Arial" charset="0"/>
              </a:rPr>
              <a:t>Sales Automation</a:t>
            </a:r>
            <a:endParaRPr lang="en-US" sz="2400" b="1" dirty="0">
              <a:solidFill>
                <a:srgbClr val="C00000"/>
              </a:solidFill>
              <a:ea typeface="+mn-ea"/>
              <a:cs typeface="Arial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41412" y="1170943"/>
            <a:ext cx="8856984" cy="4634321"/>
            <a:chOff x="107504" y="1170943"/>
            <a:chExt cx="8856984" cy="4634321"/>
          </a:xfrm>
        </p:grpSpPr>
        <p:sp>
          <p:nvSpPr>
            <p:cNvPr id="6" name="Rounded Rectangle 5"/>
            <p:cNvSpPr/>
            <p:nvPr/>
          </p:nvSpPr>
          <p:spPr>
            <a:xfrm>
              <a:off x="107504" y="1170943"/>
              <a:ext cx="8856984" cy="4631882"/>
            </a:xfrm>
            <a:prstGeom prst="roundRect">
              <a:avLst>
                <a:gd name="adj" fmla="val 1710"/>
              </a:avLst>
            </a:prstGeom>
            <a:solidFill>
              <a:srgbClr val="FFFCF7"/>
            </a:solidFill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cxnSp>
          <p:nvCxnSpPr>
            <p:cNvPr id="7" name="Straight Connector 6"/>
            <p:cNvCxnSpPr/>
            <p:nvPr/>
          </p:nvCxnSpPr>
          <p:spPr>
            <a:xfrm>
              <a:off x="2123728" y="1173382"/>
              <a:ext cx="0" cy="4631882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4355976" y="1170943"/>
              <a:ext cx="0" cy="4631882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117422" y="2683111"/>
              <a:ext cx="8847066" cy="0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117422" y="4267287"/>
              <a:ext cx="8847066" cy="0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11" name="Rectangle 10"/>
            <p:cNvSpPr/>
            <p:nvPr/>
          </p:nvSpPr>
          <p:spPr>
            <a:xfrm>
              <a:off x="209885" y="1564082"/>
              <a:ext cx="1800200" cy="83099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accent4">
                      <a:lumMod val="75000"/>
                    </a:schemeClr>
                  </a:solidFill>
                  <a:cs typeface="Arial" charset="0"/>
                </a:rPr>
                <a:t>First time in industry - 100% digital at launch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5060" y="3147242"/>
              <a:ext cx="1790282" cy="58477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accent6">
                      <a:lumMod val="75000"/>
                    </a:schemeClr>
                  </a:solidFill>
                  <a:cs typeface="Arial" charset="0"/>
                </a:rPr>
                <a:t>Anytime Anywhere </a:t>
              </a:r>
              <a:r>
                <a:rPr lang="en-US" sz="1600" dirty="0" smtClean="0">
                  <a:solidFill>
                    <a:schemeClr val="accent6">
                      <a:lumMod val="75000"/>
                    </a:schemeClr>
                  </a:solidFill>
                  <a:cs typeface="Arial" charset="0"/>
                </a:rPr>
                <a:t>access</a:t>
              </a:r>
              <a:endParaRPr lang="en-US" sz="1600" dirty="0">
                <a:solidFill>
                  <a:schemeClr val="accent6">
                    <a:lumMod val="75000"/>
                  </a:schemeClr>
                </a:solidFill>
                <a:cs typeface="Arial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349671" y="1687192"/>
              <a:ext cx="1790282" cy="58477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accent2">
                      <a:lumMod val="50000"/>
                    </a:schemeClr>
                  </a:solidFill>
                  <a:cs typeface="Arial" charset="0"/>
                </a:rPr>
                <a:t>Increase sales </a:t>
              </a:r>
              <a:r>
                <a:rPr lang="en-US" sz="1600" dirty="0" smtClean="0">
                  <a:solidFill>
                    <a:schemeClr val="accent2">
                      <a:lumMod val="50000"/>
                    </a:schemeClr>
                  </a:solidFill>
                  <a:cs typeface="Arial" charset="0"/>
                </a:rPr>
                <a:t>efficiency</a:t>
              </a:r>
              <a:endParaRPr lang="en-US" sz="1600" dirty="0">
                <a:solidFill>
                  <a:schemeClr val="accent2">
                    <a:lumMod val="50000"/>
                  </a:schemeClr>
                </a:solidFill>
                <a:cs typeface="Arial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580891" y="1705039"/>
              <a:ext cx="1790282" cy="58477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tx2"/>
                  </a:solidFill>
                  <a:cs typeface="Arial" charset="0"/>
                </a:rPr>
                <a:t>Information at </a:t>
              </a:r>
              <a:r>
                <a:rPr lang="en-US" sz="1600" dirty="0" smtClean="0">
                  <a:solidFill>
                    <a:schemeClr val="tx2"/>
                  </a:solidFill>
                  <a:cs typeface="Arial" charset="0"/>
                </a:rPr>
                <a:t>fingertips</a:t>
              </a:r>
              <a:endParaRPr lang="en-US" sz="1600" dirty="0">
                <a:solidFill>
                  <a:schemeClr val="tx2"/>
                </a:solidFill>
                <a:cs typeface="Arial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589188" y="3140371"/>
              <a:ext cx="1790282" cy="58477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600" dirty="0" smtClean="0">
                  <a:solidFill>
                    <a:schemeClr val="accent6">
                      <a:lumMod val="50000"/>
                    </a:schemeClr>
                  </a:solidFill>
                  <a:cs typeface="Arial" charset="0"/>
                </a:rPr>
                <a:t>Ease </a:t>
              </a:r>
              <a:r>
                <a:rPr lang="en-US" sz="1600" dirty="0">
                  <a:solidFill>
                    <a:schemeClr val="accent6">
                      <a:lumMod val="50000"/>
                    </a:schemeClr>
                  </a:solidFill>
                  <a:cs typeface="Arial" charset="0"/>
                </a:rPr>
                <a:t>of Sale and </a:t>
              </a:r>
              <a:r>
                <a:rPr lang="en-US" sz="1600" dirty="0" smtClean="0">
                  <a:solidFill>
                    <a:schemeClr val="accent6">
                      <a:lumMod val="50000"/>
                    </a:schemeClr>
                  </a:solidFill>
                  <a:cs typeface="Arial" charset="0"/>
                </a:rPr>
                <a:t>Learning</a:t>
              </a:r>
              <a:endParaRPr lang="en-US" sz="1600" dirty="0">
                <a:solidFill>
                  <a:schemeClr val="accent6">
                    <a:lumMod val="50000"/>
                  </a:schemeClr>
                </a:solidFill>
                <a:cs typeface="Arial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312764" y="3147275"/>
              <a:ext cx="1770357" cy="58477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tx2">
                      <a:lumMod val="60000"/>
                      <a:lumOff val="40000"/>
                    </a:schemeClr>
                  </a:solidFill>
                  <a:cs typeface="Arial" charset="0"/>
                </a:rPr>
                <a:t>Ease in customer </a:t>
              </a:r>
              <a:r>
                <a:rPr lang="en-US" sz="16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cs typeface="Arial" charset="0"/>
                </a:rPr>
                <a:t>onboarding</a:t>
              </a:r>
              <a:endParaRPr lang="en-US" sz="1600" dirty="0">
                <a:solidFill>
                  <a:schemeClr val="tx2">
                    <a:lumMod val="60000"/>
                    <a:lumOff val="40000"/>
                  </a:schemeClr>
                </a:solidFill>
                <a:cs typeface="Arial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32636" y="4707501"/>
              <a:ext cx="1807763" cy="58477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Device &amp; Platform </a:t>
              </a:r>
              <a:r>
                <a:rPr lang="en-US" sz="16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charset="0"/>
                </a:rPr>
                <a:t>agnostic</a:t>
              </a:r>
              <a:endPara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308672" y="4868827"/>
              <a:ext cx="1790282" cy="338554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accent6">
                      <a:lumMod val="75000"/>
                    </a:schemeClr>
                  </a:solidFill>
                  <a:cs typeface="Arial" charset="0"/>
                </a:rPr>
                <a:t>Cost </a:t>
              </a:r>
              <a:r>
                <a:rPr lang="en-US" sz="1600" dirty="0" smtClean="0">
                  <a:solidFill>
                    <a:schemeClr val="accent6">
                      <a:lumMod val="75000"/>
                    </a:schemeClr>
                  </a:solidFill>
                  <a:cs typeface="Arial" charset="0"/>
                </a:rPr>
                <a:t>effective</a:t>
              </a:r>
              <a:endParaRPr lang="en-US" sz="1600" dirty="0">
                <a:solidFill>
                  <a:schemeClr val="accent6">
                    <a:lumMod val="75000"/>
                  </a:schemeClr>
                </a:solidFill>
                <a:cs typeface="Arial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01677" y="4627327"/>
              <a:ext cx="1790282" cy="83099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tx2"/>
                  </a:solidFill>
                  <a:cs typeface="Arial" charset="0"/>
                </a:rPr>
                <a:t>100% adoption</a:t>
              </a:r>
            </a:p>
            <a:p>
              <a:pPr algn="ctr"/>
              <a:r>
                <a:rPr lang="en-US" sz="1600" dirty="0">
                  <a:solidFill>
                    <a:schemeClr val="tx2"/>
                  </a:solidFill>
                  <a:cs typeface="Arial" charset="0"/>
                </a:rPr>
                <a:t>Online &amp; Offline application</a:t>
              </a:r>
            </a:p>
          </p:txBody>
        </p:sp>
        <p:cxnSp>
          <p:nvCxnSpPr>
            <p:cNvPr id="20" name="Straight Connector 19"/>
            <p:cNvCxnSpPr/>
            <p:nvPr/>
          </p:nvCxnSpPr>
          <p:spPr>
            <a:xfrm>
              <a:off x="6682805" y="1173382"/>
              <a:ext cx="0" cy="4631882"/>
            </a:xfrm>
            <a:prstGeom prst="line">
              <a:avLst/>
            </a:prstGeom>
            <a:ln w="9525" cap="flat" cmpd="sng" algn="ctr">
              <a:solidFill>
                <a:schemeClr val="accent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21" name="Rectangle 20"/>
            <p:cNvSpPr/>
            <p:nvPr/>
          </p:nvSpPr>
          <p:spPr>
            <a:xfrm>
              <a:off x="6809656" y="1744705"/>
              <a:ext cx="1983457" cy="58477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tx2">
                      <a:lumMod val="60000"/>
                      <a:lumOff val="40000"/>
                    </a:schemeClr>
                  </a:solidFill>
                  <a:cs typeface="Arial" charset="0"/>
                </a:rPr>
                <a:t>Lead Management </a:t>
              </a:r>
              <a:r>
                <a:rPr lang="en-US" sz="16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cs typeface="Arial" charset="0"/>
                </a:rPr>
                <a:t>System</a:t>
              </a:r>
              <a:endParaRPr lang="en-US" sz="1600" dirty="0">
                <a:solidFill>
                  <a:schemeClr val="tx2">
                    <a:lumMod val="60000"/>
                    <a:lumOff val="40000"/>
                  </a:schemeClr>
                </a:solidFill>
                <a:cs typeface="Arial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832948" y="3140371"/>
              <a:ext cx="1983457" cy="58477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600" dirty="0" smtClean="0">
                  <a:cs typeface="Arial" charset="0"/>
                </a:rPr>
                <a:t>Paperless </a:t>
              </a:r>
              <a:r>
                <a:rPr lang="en-US" sz="1600" dirty="0">
                  <a:cs typeface="Arial" charset="0"/>
                </a:rPr>
                <a:t>logins, Digital </a:t>
              </a:r>
              <a:r>
                <a:rPr lang="en-US" sz="1600" dirty="0" smtClean="0">
                  <a:cs typeface="Arial" charset="0"/>
                </a:rPr>
                <a:t>experience</a:t>
              </a:r>
              <a:endParaRPr lang="en-US" sz="1600" dirty="0">
                <a:cs typeface="Arial" charset="0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838530" y="4707501"/>
              <a:ext cx="1983457" cy="58477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accent4"/>
                  </a:solidFill>
                  <a:cs typeface="Arial" charset="0"/>
                </a:rPr>
                <a:t>Online and Offline payment </a:t>
              </a:r>
              <a:r>
                <a:rPr lang="en-US" sz="1600" dirty="0" smtClean="0">
                  <a:solidFill>
                    <a:schemeClr val="accent4"/>
                  </a:solidFill>
                  <a:cs typeface="Arial" charset="0"/>
                </a:rPr>
                <a:t>mode</a:t>
              </a:r>
              <a:endParaRPr lang="en-US" sz="1600" dirty="0">
                <a:solidFill>
                  <a:schemeClr val="accent4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2375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AF7AA7F0-D9C4-4A7A-9EC3-018E095D5D4B}" type="slidenum">
              <a:rPr lang="en-US" altLang="en-US" smtClean="0">
                <a:solidFill>
                  <a:srgbClr val="000000"/>
                </a:solidFill>
              </a:rPr>
              <a:pPr/>
              <a:t>7</a:t>
            </a:fld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3"/>
          <p:cNvSpPr txBox="1">
            <a:spLocks/>
          </p:cNvSpPr>
          <p:nvPr/>
        </p:nvSpPr>
        <p:spPr>
          <a:xfrm>
            <a:off x="8652436" y="6643709"/>
            <a:ext cx="235978" cy="226987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fld id="{86CB4B4D-7CA3-9044-876B-883B54F8677D}" type="slidenum">
              <a:rPr lang="en-IN" smtClean="0"/>
              <a:pPr/>
              <a:t>7</a:t>
            </a:fld>
            <a:endParaRPr lang="en-IN"/>
          </a:p>
        </p:txBody>
      </p:sp>
      <p:graphicFrame>
        <p:nvGraphicFramePr>
          <p:cNvPr id="8" name="Diagram 7"/>
          <p:cNvGraphicFramePr/>
          <p:nvPr/>
        </p:nvGraphicFramePr>
        <p:xfrm>
          <a:off x="251520" y="1124744"/>
          <a:ext cx="8640960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Rectangle 2"/>
          <p:cNvSpPr>
            <a:spLocks noGrp="1"/>
          </p:cNvSpPr>
          <p:nvPr>
            <p:ph type="title"/>
          </p:nvPr>
        </p:nvSpPr>
        <p:spPr>
          <a:xfrm>
            <a:off x="395536" y="332656"/>
            <a:ext cx="7050397" cy="4587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00"/>
              </a:spcBef>
              <a:defRPr sz="2400" b="1">
                <a:solidFill>
                  <a:srgbClr val="C00000"/>
                </a:solidFill>
              </a:defRPr>
            </a:lvl1pPr>
          </a:lstStyle>
          <a:p>
            <a:pPr>
              <a:defRPr>
                <a:solidFill>
                  <a:srgbClr val="000000"/>
                </a:solidFill>
              </a:defRPr>
            </a:pPr>
            <a:r>
              <a:rPr lang="en-IN" dirty="0" smtClean="0">
                <a:solidFill>
                  <a:srgbClr val="C00000"/>
                </a:solidFill>
              </a:rPr>
              <a:t>Best Practices Implemented</a:t>
            </a:r>
            <a:endParaRPr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801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pPr>
              <a:defRPr/>
            </a:pPr>
            <a:fld id="{6739710C-279F-47A1-9503-CBAB6739717D}" type="slidenum">
              <a:rPr lang="en-US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84212" y="1131705"/>
            <a:ext cx="731520" cy="370523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199239" y="1049589"/>
            <a:ext cx="2601309" cy="4101082"/>
            <a:chOff x="-301163" y="868706"/>
            <a:chExt cx="2601309" cy="4101082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-301163" y="868706"/>
              <a:ext cx="2601309" cy="4101082"/>
            </a:xfrm>
            <a:prstGeom prst="rect">
              <a:avLst/>
            </a:prstGeom>
            <a:ln w="25400">
              <a:miter lim="400000"/>
            </a:ln>
            <a:effectLst>
              <a:outerShdw blurRad="254000" dist="127000" dir="5400000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58767" y="878721"/>
              <a:ext cx="845671" cy="433472"/>
            </a:xfrm>
            <a:prstGeom prst="rect">
              <a:avLst/>
            </a:prstGeom>
          </p:spPr>
        </p:pic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049336" y="1927096"/>
            <a:ext cx="731520" cy="37052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049336" y="1709531"/>
            <a:ext cx="941160" cy="352625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3140388" y="1608191"/>
            <a:ext cx="2642505" cy="4126465"/>
            <a:chOff x="3153598" y="1668205"/>
            <a:chExt cx="2642505" cy="4126465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153598" y="1668205"/>
              <a:ext cx="2642505" cy="4126465"/>
            </a:xfrm>
            <a:prstGeom prst="rect">
              <a:avLst/>
            </a:prstGeom>
            <a:ln w="25400">
              <a:miter lim="400000"/>
            </a:ln>
            <a:effectLst>
              <a:outerShdw blurRad="254000" dist="127000" dir="5400000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218859" y="1701854"/>
              <a:ext cx="444545" cy="379059"/>
            </a:xfrm>
            <a:prstGeom prst="rect">
              <a:avLst/>
            </a:prstGeom>
          </p:spPr>
        </p:pic>
      </p:grpSp>
      <p:pic>
        <p:nvPicPr>
          <p:cNvPr id="19" name="Picture 18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190915" y="1131940"/>
            <a:ext cx="2640164" cy="4106266"/>
          </a:xfrm>
          <a:prstGeom prst="rect">
            <a:avLst/>
          </a:prstGeom>
          <a:ln w="25400">
            <a:miter lim="400000"/>
          </a:ln>
          <a:effectLst>
            <a:outerShdw blurRad="254000" dist="127000" dir="5400000" rotWithShape="0">
              <a:srgbClr val="000000">
                <a:alpha val="70000"/>
              </a:srgbClr>
            </a:outerShdw>
          </a:effectLst>
        </p:spPr>
      </p:pic>
      <p:sp>
        <p:nvSpPr>
          <p:cNvPr id="20" name="Rectangular Callout 19"/>
          <p:cNvSpPr/>
          <p:nvPr/>
        </p:nvSpPr>
        <p:spPr>
          <a:xfrm>
            <a:off x="489393" y="5451820"/>
            <a:ext cx="1654050" cy="360040"/>
          </a:xfrm>
          <a:prstGeom prst="wedgeRectCallout">
            <a:avLst>
              <a:gd name="adj1" fmla="val -21985"/>
              <a:gd name="adj2" fmla="val -85650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/>
              <a:t>Quote Page</a:t>
            </a:r>
          </a:p>
        </p:txBody>
      </p:sp>
      <p:sp>
        <p:nvSpPr>
          <p:cNvPr id="21" name="Rectangular Callout 20"/>
          <p:cNvSpPr/>
          <p:nvPr/>
        </p:nvSpPr>
        <p:spPr>
          <a:xfrm>
            <a:off x="3483857" y="869569"/>
            <a:ext cx="1828952" cy="360040"/>
          </a:xfrm>
          <a:prstGeom prst="wedgeRectCallout">
            <a:avLst>
              <a:gd name="adj1" fmla="val -21409"/>
              <a:gd name="adj2" fmla="val 94247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/>
              <a:t>Proposal Form</a:t>
            </a:r>
          </a:p>
        </p:txBody>
      </p:sp>
      <p:sp>
        <p:nvSpPr>
          <p:cNvPr id="22" name="Rectangular Callout 21"/>
          <p:cNvSpPr/>
          <p:nvPr/>
        </p:nvSpPr>
        <p:spPr>
          <a:xfrm>
            <a:off x="6638379" y="5554636"/>
            <a:ext cx="2032123" cy="360040"/>
          </a:xfrm>
          <a:prstGeom prst="wedgeRectCallout">
            <a:avLst>
              <a:gd name="adj1" fmla="val -21985"/>
              <a:gd name="adj2" fmla="val -85650"/>
            </a:avLst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/>
              <a:t>Thank You Page</a:t>
            </a:r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 bwMode="auto">
          <a:xfrm>
            <a:off x="126453" y="281496"/>
            <a:ext cx="7455202" cy="3901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C51B2B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A70D0D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A70D0D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A70D0D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A70D0D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A70D0D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A70D0D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A70D0D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A70D0D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2400" b="1" dirty="0" smtClean="0">
                <a:solidFill>
                  <a:srgbClr val="C00000"/>
                </a:solidFill>
              </a:rPr>
              <a:t>H-app-Y – Health App </a:t>
            </a:r>
            <a:r>
              <a:rPr lang="en-US" sz="2400" b="1" dirty="0">
                <a:solidFill>
                  <a:srgbClr val="C00000"/>
                </a:solidFill>
              </a:rPr>
              <a:t>F</a:t>
            </a:r>
            <a:r>
              <a:rPr lang="en-US" sz="2400" b="1" dirty="0" smtClean="0">
                <a:solidFill>
                  <a:srgbClr val="C00000"/>
                </a:solidFill>
              </a:rPr>
              <a:t>or You</a:t>
            </a:r>
            <a:endParaRPr lang="en-US" sz="2400" b="1" dirty="0">
              <a:solidFill>
                <a:srgbClr val="C00000"/>
              </a:solidFill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5238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AF7AA7F0-D9C4-4A7A-9EC3-018E095D5D4B}" type="slidenum">
              <a:rPr lang="en-US" altLang="en-US" smtClean="0">
                <a:solidFill>
                  <a:srgbClr val="000000"/>
                </a:solidFill>
              </a:rPr>
              <a:pPr/>
              <a:t>9</a:t>
            </a:fld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 txBox="1">
            <a:spLocks/>
          </p:cNvSpPr>
          <p:nvPr/>
        </p:nvSpPr>
        <p:spPr bwMode="auto">
          <a:xfrm>
            <a:off x="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7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6739710C-279F-47A1-9503-CBAB6739717D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199239" y="-90889"/>
            <a:ext cx="7455202" cy="1128758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b="1" dirty="0">
                <a:solidFill>
                  <a:srgbClr val="C00000"/>
                </a:solidFill>
                <a:cs typeface="Arial" charset="0"/>
              </a:rPr>
              <a:t>KM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80" r="31276"/>
          <a:stretch/>
        </p:blipFill>
        <p:spPr>
          <a:xfrm>
            <a:off x="199239" y="1005280"/>
            <a:ext cx="2716499" cy="4944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53" r="29456"/>
          <a:stretch/>
        </p:blipFill>
        <p:spPr>
          <a:xfrm>
            <a:off x="5940152" y="1120303"/>
            <a:ext cx="3080791" cy="485177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09" r="30214"/>
          <a:stretch/>
        </p:blipFill>
        <p:spPr>
          <a:xfrm>
            <a:off x="3131840" y="1037869"/>
            <a:ext cx="2923175" cy="491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463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ABFS Theme">
      <a:dk1>
        <a:srgbClr val="000000"/>
      </a:dk1>
      <a:lt1>
        <a:srgbClr val="FFFFFF"/>
      </a:lt1>
      <a:dk2>
        <a:srgbClr val="C51B2B"/>
      </a:dk2>
      <a:lt2>
        <a:srgbClr val="FFFFFF"/>
      </a:lt2>
      <a:accent1>
        <a:srgbClr val="C51B2B"/>
      </a:accent1>
      <a:accent2>
        <a:srgbClr val="FFCD65"/>
      </a:accent2>
      <a:accent3>
        <a:srgbClr val="FAA61A"/>
      </a:accent3>
      <a:accent4>
        <a:srgbClr val="F15A22"/>
      </a:accent4>
      <a:accent5>
        <a:srgbClr val="333333"/>
      </a:accent5>
      <a:accent6>
        <a:srgbClr val="C51B2B"/>
      </a:accent6>
      <a:hlink>
        <a:srgbClr val="333333"/>
      </a:hlink>
      <a:folHlink>
        <a:srgbClr val="FAA61A"/>
      </a:folHlink>
    </a:clrScheme>
    <a:fontScheme name="ABFS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19</TotalTime>
  <Words>666</Words>
  <Application>Microsoft Office PowerPoint</Application>
  <PresentationFormat>On-screen Show (4:3)</PresentationFormat>
  <Paragraphs>107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Wingdings</vt:lpstr>
      <vt:lpstr>Blank</vt:lpstr>
      <vt:lpstr>think-cell Slide</vt:lpstr>
      <vt:lpstr>PowerPoint Presentation</vt:lpstr>
      <vt:lpstr>Why Aditya Birla Health</vt:lpstr>
      <vt:lpstr>PowerPoint Presentation</vt:lpstr>
      <vt:lpstr>PowerPoint Presentation</vt:lpstr>
      <vt:lpstr>Building Excellence</vt:lpstr>
      <vt:lpstr>Sales Automation</vt:lpstr>
      <vt:lpstr>Best Practices Implemented</vt:lpstr>
      <vt:lpstr>PowerPoint Presentation</vt:lpstr>
      <vt:lpstr>KMS</vt:lpstr>
      <vt:lpstr>Snapshots of our Activ Health app </vt:lpstr>
      <vt:lpstr>PowerPoint Presentation</vt:lpstr>
      <vt:lpstr>PowerPoint Presentation</vt:lpstr>
    </vt:vector>
  </TitlesOfParts>
  <Company>Hewlett-Packar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s and CS initiatives</dc:title>
  <dc:creator>hi227657</dc:creator>
  <cp:lastModifiedBy>Amit Matani</cp:lastModifiedBy>
  <cp:revision>223</cp:revision>
  <dcterms:created xsi:type="dcterms:W3CDTF">2017-03-03T09:16:40Z</dcterms:created>
  <dcterms:modified xsi:type="dcterms:W3CDTF">2017-06-27T13:13:06Z</dcterms:modified>
</cp:coreProperties>
</file>